
<file path=[Content_Types].xml><?xml version="1.0" encoding="utf-8"?>
<Types xmlns="http://schemas.openxmlformats.org/package/2006/content-types"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5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sldIdLst>
    <p:sldId id="13143" r:id="rId2"/>
    <p:sldId id="8387" r:id="rId3"/>
    <p:sldId id="257" r:id="rId4"/>
    <p:sldId id="258" r:id="rId5"/>
    <p:sldId id="13142" r:id="rId6"/>
    <p:sldId id="260" r:id="rId7"/>
    <p:sldId id="13139" r:id="rId8"/>
    <p:sldId id="261" r:id="rId9"/>
    <p:sldId id="262" r:id="rId10"/>
    <p:sldId id="13140" r:id="rId11"/>
    <p:sldId id="263" r:id="rId12"/>
    <p:sldId id="264" r:id="rId13"/>
    <p:sldId id="265" r:id="rId14"/>
    <p:sldId id="266" r:id="rId15"/>
    <p:sldId id="13141" r:id="rId16"/>
    <p:sldId id="267" r:id="rId17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C0A5B9E-A933-42B1-819D-8B7A7CE0528E}" v="15" dt="2022-11-07T08:22:46.05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26" autoAdjust="0"/>
    <p:restoredTop sz="94660"/>
  </p:normalViewPr>
  <p:slideViewPr>
    <p:cSldViewPr snapToGrid="0">
      <p:cViewPr varScale="1">
        <p:scale>
          <a:sx n="58" d="100"/>
          <a:sy n="58" d="100"/>
        </p:scale>
        <p:origin x="988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microsoft.com/office/2016/11/relationships/changesInfo" Target="changesInfos/changesInfo1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ttia rodente" userId="8fa11c3836abf801" providerId="LiveId" clId="{FC0A5B9E-A933-42B1-819D-8B7A7CE0528E}"/>
    <pc:docChg chg="custSel addSld delSld modSld">
      <pc:chgData name="mattia rodente" userId="8fa11c3836abf801" providerId="LiveId" clId="{FC0A5B9E-A933-42B1-819D-8B7A7CE0528E}" dt="2022-11-07T08:22:50.221" v="134" actId="478"/>
      <pc:docMkLst>
        <pc:docMk/>
      </pc:docMkLst>
      <pc:sldChg chg="modSp mod">
        <pc:chgData name="mattia rodente" userId="8fa11c3836abf801" providerId="LiveId" clId="{FC0A5B9E-A933-42B1-819D-8B7A7CE0528E}" dt="2022-11-07T07:48:33.789" v="4" actId="122"/>
        <pc:sldMkLst>
          <pc:docMk/>
          <pc:sldMk cId="972209365" sldId="257"/>
        </pc:sldMkLst>
        <pc:spChg chg="mod">
          <ac:chgData name="mattia rodente" userId="8fa11c3836abf801" providerId="LiveId" clId="{FC0A5B9E-A933-42B1-819D-8B7A7CE0528E}" dt="2022-11-07T07:48:33.789" v="4" actId="122"/>
          <ac:spMkLst>
            <pc:docMk/>
            <pc:sldMk cId="972209365" sldId="257"/>
            <ac:spMk id="2" creationId="{C89AA93E-A76B-2C7B-D8CF-992714FDE85E}"/>
          </ac:spMkLst>
        </pc:spChg>
      </pc:sldChg>
      <pc:sldChg chg="modSp mod">
        <pc:chgData name="mattia rodente" userId="8fa11c3836abf801" providerId="LiveId" clId="{FC0A5B9E-A933-42B1-819D-8B7A7CE0528E}" dt="2022-11-07T07:51:45.968" v="46" actId="14100"/>
        <pc:sldMkLst>
          <pc:docMk/>
          <pc:sldMk cId="1664293886" sldId="258"/>
        </pc:sldMkLst>
        <pc:spChg chg="mod">
          <ac:chgData name="mattia rodente" userId="8fa11c3836abf801" providerId="LiveId" clId="{FC0A5B9E-A933-42B1-819D-8B7A7CE0528E}" dt="2022-11-07T07:51:45.968" v="46" actId="14100"/>
          <ac:spMkLst>
            <pc:docMk/>
            <pc:sldMk cId="1664293886" sldId="258"/>
            <ac:spMk id="80" creationId="{D48AE26C-1DC2-BD41-AE92-54AB8BA5E0BA}"/>
          </ac:spMkLst>
        </pc:spChg>
      </pc:sldChg>
      <pc:sldChg chg="modSp del mod">
        <pc:chgData name="mattia rodente" userId="8fa11c3836abf801" providerId="LiveId" clId="{FC0A5B9E-A933-42B1-819D-8B7A7CE0528E}" dt="2022-11-07T07:48:50.991" v="7" actId="47"/>
        <pc:sldMkLst>
          <pc:docMk/>
          <pc:sldMk cId="2233814763" sldId="259"/>
        </pc:sldMkLst>
        <pc:spChg chg="mod">
          <ac:chgData name="mattia rodente" userId="8fa11c3836abf801" providerId="LiveId" clId="{FC0A5B9E-A933-42B1-819D-8B7A7CE0528E}" dt="2022-11-07T07:48:45.675" v="6" actId="122"/>
          <ac:spMkLst>
            <pc:docMk/>
            <pc:sldMk cId="2233814763" sldId="259"/>
            <ac:spMk id="80" creationId="{ABB85BD2-0D10-F1FD-B1F1-59D66B737176}"/>
          </ac:spMkLst>
        </pc:spChg>
      </pc:sldChg>
      <pc:sldChg chg="modSp mod">
        <pc:chgData name="mattia rodente" userId="8fa11c3836abf801" providerId="LiveId" clId="{FC0A5B9E-A933-42B1-819D-8B7A7CE0528E}" dt="2022-11-07T07:51:59.206" v="50" actId="122"/>
        <pc:sldMkLst>
          <pc:docMk/>
          <pc:sldMk cId="2750907947" sldId="260"/>
        </pc:sldMkLst>
        <pc:spChg chg="mod">
          <ac:chgData name="mattia rodente" userId="8fa11c3836abf801" providerId="LiveId" clId="{FC0A5B9E-A933-42B1-819D-8B7A7CE0528E}" dt="2022-11-07T07:51:59.206" v="50" actId="122"/>
          <ac:spMkLst>
            <pc:docMk/>
            <pc:sldMk cId="2750907947" sldId="260"/>
            <ac:spMk id="89" creationId="{116AC313-84CE-0B1E-B6A7-A8869AE58CA9}"/>
          </ac:spMkLst>
        </pc:spChg>
      </pc:sldChg>
      <pc:sldChg chg="modSp mod">
        <pc:chgData name="mattia rodente" userId="8fa11c3836abf801" providerId="LiveId" clId="{FC0A5B9E-A933-42B1-819D-8B7A7CE0528E}" dt="2022-11-07T08:08:51.893" v="131" actId="20577"/>
        <pc:sldMkLst>
          <pc:docMk/>
          <pc:sldMk cId="1106904903" sldId="261"/>
        </pc:sldMkLst>
        <pc:spChg chg="mod">
          <ac:chgData name="mattia rodente" userId="8fa11c3836abf801" providerId="LiveId" clId="{FC0A5B9E-A933-42B1-819D-8B7A7CE0528E}" dt="2022-11-07T07:49:51.774" v="22" actId="1036"/>
          <ac:spMkLst>
            <pc:docMk/>
            <pc:sldMk cId="1106904903" sldId="261"/>
            <ac:spMk id="12" creationId="{43348FCB-E931-5483-D9A0-360805A06F48}"/>
          </ac:spMkLst>
        </pc:spChg>
        <pc:spChg chg="mod">
          <ac:chgData name="mattia rodente" userId="8fa11c3836abf801" providerId="LiveId" clId="{FC0A5B9E-A933-42B1-819D-8B7A7CE0528E}" dt="2022-11-07T07:49:51.774" v="22" actId="1036"/>
          <ac:spMkLst>
            <pc:docMk/>
            <pc:sldMk cId="1106904903" sldId="261"/>
            <ac:spMk id="13" creationId="{70296878-15AB-9F31-3CF1-A29ED771474E}"/>
          </ac:spMkLst>
        </pc:spChg>
        <pc:spChg chg="mod">
          <ac:chgData name="mattia rodente" userId="8fa11c3836abf801" providerId="LiveId" clId="{FC0A5B9E-A933-42B1-819D-8B7A7CE0528E}" dt="2022-11-07T07:49:51.774" v="22" actId="1036"/>
          <ac:spMkLst>
            <pc:docMk/>
            <pc:sldMk cId="1106904903" sldId="261"/>
            <ac:spMk id="16" creationId="{DA866CCB-EEC9-0DB3-A863-DA80587957C7}"/>
          </ac:spMkLst>
        </pc:spChg>
        <pc:spChg chg="mod">
          <ac:chgData name="mattia rodente" userId="8fa11c3836abf801" providerId="LiveId" clId="{FC0A5B9E-A933-42B1-819D-8B7A7CE0528E}" dt="2022-11-07T07:49:51.774" v="22" actId="1036"/>
          <ac:spMkLst>
            <pc:docMk/>
            <pc:sldMk cId="1106904903" sldId="261"/>
            <ac:spMk id="18" creationId="{9110E517-53EA-2D3E-BA6B-89BC39EA4892}"/>
          </ac:spMkLst>
        </pc:spChg>
        <pc:spChg chg="mod">
          <ac:chgData name="mattia rodente" userId="8fa11c3836abf801" providerId="LiveId" clId="{FC0A5B9E-A933-42B1-819D-8B7A7CE0528E}" dt="2022-11-07T07:49:51.774" v="22" actId="1036"/>
          <ac:spMkLst>
            <pc:docMk/>
            <pc:sldMk cId="1106904903" sldId="261"/>
            <ac:spMk id="19" creationId="{E77C49A0-0FD5-8C39-15FE-705FD48B06CC}"/>
          </ac:spMkLst>
        </pc:spChg>
        <pc:spChg chg="mod">
          <ac:chgData name="mattia rodente" userId="8fa11c3836abf801" providerId="LiveId" clId="{FC0A5B9E-A933-42B1-819D-8B7A7CE0528E}" dt="2022-11-07T07:49:51.774" v="22" actId="1036"/>
          <ac:spMkLst>
            <pc:docMk/>
            <pc:sldMk cId="1106904903" sldId="261"/>
            <ac:spMk id="20" creationId="{6B85B6A9-CE4C-8CD4-CF27-DC50C446D9CB}"/>
          </ac:spMkLst>
        </pc:spChg>
        <pc:spChg chg="mod">
          <ac:chgData name="mattia rodente" userId="8fa11c3836abf801" providerId="LiveId" clId="{FC0A5B9E-A933-42B1-819D-8B7A7CE0528E}" dt="2022-11-07T07:49:51.774" v="22" actId="1036"/>
          <ac:spMkLst>
            <pc:docMk/>
            <pc:sldMk cId="1106904903" sldId="261"/>
            <ac:spMk id="21" creationId="{6095C114-9829-55C3-2D31-31ECE5C7780E}"/>
          </ac:spMkLst>
        </pc:spChg>
        <pc:spChg chg="mod">
          <ac:chgData name="mattia rodente" userId="8fa11c3836abf801" providerId="LiveId" clId="{FC0A5B9E-A933-42B1-819D-8B7A7CE0528E}" dt="2022-11-07T07:49:51.774" v="22" actId="1036"/>
          <ac:spMkLst>
            <pc:docMk/>
            <pc:sldMk cId="1106904903" sldId="261"/>
            <ac:spMk id="22" creationId="{080B3DA4-51E9-2E5D-5CA6-7671B47524D0}"/>
          </ac:spMkLst>
        </pc:spChg>
        <pc:spChg chg="mod">
          <ac:chgData name="mattia rodente" userId="8fa11c3836abf801" providerId="LiveId" clId="{FC0A5B9E-A933-42B1-819D-8B7A7CE0528E}" dt="2022-11-07T07:49:51.774" v="22" actId="1036"/>
          <ac:spMkLst>
            <pc:docMk/>
            <pc:sldMk cId="1106904903" sldId="261"/>
            <ac:spMk id="24" creationId="{C2499C9A-2863-475F-52B0-781EDFCDEF74}"/>
          </ac:spMkLst>
        </pc:spChg>
        <pc:spChg chg="mod">
          <ac:chgData name="mattia rodente" userId="8fa11c3836abf801" providerId="LiveId" clId="{FC0A5B9E-A933-42B1-819D-8B7A7CE0528E}" dt="2022-11-07T07:49:51.774" v="22" actId="1036"/>
          <ac:spMkLst>
            <pc:docMk/>
            <pc:sldMk cId="1106904903" sldId="261"/>
            <ac:spMk id="25" creationId="{FFCD791B-511A-DD75-4686-57C8D103744C}"/>
          </ac:spMkLst>
        </pc:spChg>
        <pc:spChg chg="mod">
          <ac:chgData name="mattia rodente" userId="8fa11c3836abf801" providerId="LiveId" clId="{FC0A5B9E-A933-42B1-819D-8B7A7CE0528E}" dt="2022-11-07T07:49:51.774" v="22" actId="1036"/>
          <ac:spMkLst>
            <pc:docMk/>
            <pc:sldMk cId="1106904903" sldId="261"/>
            <ac:spMk id="27" creationId="{A8DEF0AA-3C0B-E9CF-57D1-301DD9A09CF0}"/>
          </ac:spMkLst>
        </pc:spChg>
        <pc:spChg chg="mod">
          <ac:chgData name="mattia rodente" userId="8fa11c3836abf801" providerId="LiveId" clId="{FC0A5B9E-A933-42B1-819D-8B7A7CE0528E}" dt="2022-11-07T07:49:51.774" v="22" actId="1036"/>
          <ac:spMkLst>
            <pc:docMk/>
            <pc:sldMk cId="1106904903" sldId="261"/>
            <ac:spMk id="28" creationId="{E63D8E79-9856-19D6-7398-BCA60EB83C3E}"/>
          </ac:spMkLst>
        </pc:spChg>
        <pc:spChg chg="mod">
          <ac:chgData name="mattia rodente" userId="8fa11c3836abf801" providerId="LiveId" clId="{FC0A5B9E-A933-42B1-819D-8B7A7CE0528E}" dt="2022-11-07T07:49:51.774" v="22" actId="1036"/>
          <ac:spMkLst>
            <pc:docMk/>
            <pc:sldMk cId="1106904903" sldId="261"/>
            <ac:spMk id="32" creationId="{4551C9FD-3368-6F4E-CC59-68A68C77103B}"/>
          </ac:spMkLst>
        </pc:spChg>
        <pc:spChg chg="mod">
          <ac:chgData name="mattia rodente" userId="8fa11c3836abf801" providerId="LiveId" clId="{FC0A5B9E-A933-42B1-819D-8B7A7CE0528E}" dt="2022-11-07T07:49:51.774" v="22" actId="1036"/>
          <ac:spMkLst>
            <pc:docMk/>
            <pc:sldMk cId="1106904903" sldId="261"/>
            <ac:spMk id="33" creationId="{C284F3D8-FEB8-2F65-421A-15CDA02A78C2}"/>
          </ac:spMkLst>
        </pc:spChg>
        <pc:spChg chg="mod">
          <ac:chgData name="mattia rodente" userId="8fa11c3836abf801" providerId="LiveId" clId="{FC0A5B9E-A933-42B1-819D-8B7A7CE0528E}" dt="2022-11-07T07:49:51.774" v="22" actId="1036"/>
          <ac:spMkLst>
            <pc:docMk/>
            <pc:sldMk cId="1106904903" sldId="261"/>
            <ac:spMk id="34" creationId="{161F7A17-58B6-6A91-88B3-1A2B42E8C5CB}"/>
          </ac:spMkLst>
        </pc:spChg>
        <pc:spChg chg="mod">
          <ac:chgData name="mattia rodente" userId="8fa11c3836abf801" providerId="LiveId" clId="{FC0A5B9E-A933-42B1-819D-8B7A7CE0528E}" dt="2022-11-07T07:49:51.774" v="22" actId="1036"/>
          <ac:spMkLst>
            <pc:docMk/>
            <pc:sldMk cId="1106904903" sldId="261"/>
            <ac:spMk id="35" creationId="{2E7091A4-1473-E1A3-6847-9DF65FF6FC7F}"/>
          </ac:spMkLst>
        </pc:spChg>
        <pc:spChg chg="mod">
          <ac:chgData name="mattia rodente" userId="8fa11c3836abf801" providerId="LiveId" clId="{FC0A5B9E-A933-42B1-819D-8B7A7CE0528E}" dt="2022-11-07T07:49:51.774" v="22" actId="1036"/>
          <ac:spMkLst>
            <pc:docMk/>
            <pc:sldMk cId="1106904903" sldId="261"/>
            <ac:spMk id="36" creationId="{55ED2D67-6E92-C281-4A5C-2ED834E2D181}"/>
          </ac:spMkLst>
        </pc:spChg>
        <pc:spChg chg="mod">
          <ac:chgData name="mattia rodente" userId="8fa11c3836abf801" providerId="LiveId" clId="{FC0A5B9E-A933-42B1-819D-8B7A7CE0528E}" dt="2022-11-07T08:08:51.893" v="131" actId="20577"/>
          <ac:spMkLst>
            <pc:docMk/>
            <pc:sldMk cId="1106904903" sldId="261"/>
            <ac:spMk id="37" creationId="{DD6AFE75-4F8E-389B-957E-9EC2E943ABBE}"/>
          </ac:spMkLst>
        </pc:spChg>
        <pc:spChg chg="mod">
          <ac:chgData name="mattia rodente" userId="8fa11c3836abf801" providerId="LiveId" clId="{FC0A5B9E-A933-42B1-819D-8B7A7CE0528E}" dt="2022-11-07T07:49:51.774" v="22" actId="1036"/>
          <ac:spMkLst>
            <pc:docMk/>
            <pc:sldMk cId="1106904903" sldId="261"/>
            <ac:spMk id="41" creationId="{0DCE5910-B62B-EBCC-5388-B19F91FE3F5A}"/>
          </ac:spMkLst>
        </pc:spChg>
        <pc:spChg chg="mod">
          <ac:chgData name="mattia rodente" userId="8fa11c3836abf801" providerId="LiveId" clId="{FC0A5B9E-A933-42B1-819D-8B7A7CE0528E}" dt="2022-11-07T07:49:51.774" v="22" actId="1036"/>
          <ac:spMkLst>
            <pc:docMk/>
            <pc:sldMk cId="1106904903" sldId="261"/>
            <ac:spMk id="42" creationId="{97E12D00-CED2-7277-D42B-73BBB4C6614E}"/>
          </ac:spMkLst>
        </pc:spChg>
        <pc:spChg chg="mod">
          <ac:chgData name="mattia rodente" userId="8fa11c3836abf801" providerId="LiveId" clId="{FC0A5B9E-A933-42B1-819D-8B7A7CE0528E}" dt="2022-11-07T07:49:51.774" v="22" actId="1036"/>
          <ac:spMkLst>
            <pc:docMk/>
            <pc:sldMk cId="1106904903" sldId="261"/>
            <ac:spMk id="43" creationId="{A37A7F2A-ED46-8B41-6B70-B5BA7FAD4DC5}"/>
          </ac:spMkLst>
        </pc:spChg>
        <pc:spChg chg="mod">
          <ac:chgData name="mattia rodente" userId="8fa11c3836abf801" providerId="LiveId" clId="{FC0A5B9E-A933-42B1-819D-8B7A7CE0528E}" dt="2022-11-07T07:49:51.774" v="22" actId="1036"/>
          <ac:spMkLst>
            <pc:docMk/>
            <pc:sldMk cId="1106904903" sldId="261"/>
            <ac:spMk id="44" creationId="{4B18F9D0-71A6-4C79-EC27-D55A4B9A1C59}"/>
          </ac:spMkLst>
        </pc:spChg>
        <pc:spChg chg="mod">
          <ac:chgData name="mattia rodente" userId="8fa11c3836abf801" providerId="LiveId" clId="{FC0A5B9E-A933-42B1-819D-8B7A7CE0528E}" dt="2022-11-07T07:49:51.774" v="22" actId="1036"/>
          <ac:spMkLst>
            <pc:docMk/>
            <pc:sldMk cId="1106904903" sldId="261"/>
            <ac:spMk id="46" creationId="{2F4BA0A7-1B91-3CE9-4406-20D29F62F04D}"/>
          </ac:spMkLst>
        </pc:spChg>
        <pc:spChg chg="mod">
          <ac:chgData name="mattia rodente" userId="8fa11c3836abf801" providerId="LiveId" clId="{FC0A5B9E-A933-42B1-819D-8B7A7CE0528E}" dt="2022-11-07T07:49:51.774" v="22" actId="1036"/>
          <ac:spMkLst>
            <pc:docMk/>
            <pc:sldMk cId="1106904903" sldId="261"/>
            <ac:spMk id="47" creationId="{6C1521A3-0A1E-718B-EEA5-95ABD67FC9BF}"/>
          </ac:spMkLst>
        </pc:spChg>
        <pc:spChg chg="mod">
          <ac:chgData name="mattia rodente" userId="8fa11c3836abf801" providerId="LiveId" clId="{FC0A5B9E-A933-42B1-819D-8B7A7CE0528E}" dt="2022-11-07T07:49:51.774" v="22" actId="1036"/>
          <ac:spMkLst>
            <pc:docMk/>
            <pc:sldMk cId="1106904903" sldId="261"/>
            <ac:spMk id="48" creationId="{828705C8-9447-CF31-2A20-4F18DE445CAD}"/>
          </ac:spMkLst>
        </pc:spChg>
        <pc:spChg chg="mod">
          <ac:chgData name="mattia rodente" userId="8fa11c3836abf801" providerId="LiveId" clId="{FC0A5B9E-A933-42B1-819D-8B7A7CE0528E}" dt="2022-11-07T07:49:51.774" v="22" actId="1036"/>
          <ac:spMkLst>
            <pc:docMk/>
            <pc:sldMk cId="1106904903" sldId="261"/>
            <ac:spMk id="49" creationId="{7D40D83E-5EDF-85FC-4616-559CD52F40D7}"/>
          </ac:spMkLst>
        </pc:spChg>
        <pc:spChg chg="mod">
          <ac:chgData name="mattia rodente" userId="8fa11c3836abf801" providerId="LiveId" clId="{FC0A5B9E-A933-42B1-819D-8B7A7CE0528E}" dt="2022-11-07T07:49:51.774" v="22" actId="1036"/>
          <ac:spMkLst>
            <pc:docMk/>
            <pc:sldMk cId="1106904903" sldId="261"/>
            <ac:spMk id="51" creationId="{785CF2B2-2325-77E6-2DED-7595CC1B74FA}"/>
          </ac:spMkLst>
        </pc:spChg>
        <pc:spChg chg="mod">
          <ac:chgData name="mattia rodente" userId="8fa11c3836abf801" providerId="LiveId" clId="{FC0A5B9E-A933-42B1-819D-8B7A7CE0528E}" dt="2022-11-07T07:49:51.774" v="22" actId="1036"/>
          <ac:spMkLst>
            <pc:docMk/>
            <pc:sldMk cId="1106904903" sldId="261"/>
            <ac:spMk id="52" creationId="{200BB14B-816E-445A-92A2-72D494B0785B}"/>
          </ac:spMkLst>
        </pc:spChg>
        <pc:spChg chg="mod">
          <ac:chgData name="mattia rodente" userId="8fa11c3836abf801" providerId="LiveId" clId="{FC0A5B9E-A933-42B1-819D-8B7A7CE0528E}" dt="2022-11-07T07:49:51.774" v="22" actId="1036"/>
          <ac:spMkLst>
            <pc:docMk/>
            <pc:sldMk cId="1106904903" sldId="261"/>
            <ac:spMk id="53" creationId="{2F710321-1DD8-01CA-04DA-19B072BA55AF}"/>
          </ac:spMkLst>
        </pc:spChg>
        <pc:spChg chg="mod">
          <ac:chgData name="mattia rodente" userId="8fa11c3836abf801" providerId="LiveId" clId="{FC0A5B9E-A933-42B1-819D-8B7A7CE0528E}" dt="2022-11-07T07:49:51.774" v="22" actId="1036"/>
          <ac:spMkLst>
            <pc:docMk/>
            <pc:sldMk cId="1106904903" sldId="261"/>
            <ac:spMk id="54" creationId="{D7915903-9ADF-9507-0BDF-500EC0AEF1D8}"/>
          </ac:spMkLst>
        </pc:spChg>
        <pc:spChg chg="mod">
          <ac:chgData name="mattia rodente" userId="8fa11c3836abf801" providerId="LiveId" clId="{FC0A5B9E-A933-42B1-819D-8B7A7CE0528E}" dt="2022-11-07T07:49:51.774" v="22" actId="1036"/>
          <ac:spMkLst>
            <pc:docMk/>
            <pc:sldMk cId="1106904903" sldId="261"/>
            <ac:spMk id="55" creationId="{8B617F1C-03DD-26DA-F6AF-D187230F01DD}"/>
          </ac:spMkLst>
        </pc:spChg>
        <pc:spChg chg="mod">
          <ac:chgData name="mattia rodente" userId="8fa11c3836abf801" providerId="LiveId" clId="{FC0A5B9E-A933-42B1-819D-8B7A7CE0528E}" dt="2022-11-07T07:49:51.774" v="22" actId="1036"/>
          <ac:spMkLst>
            <pc:docMk/>
            <pc:sldMk cId="1106904903" sldId="261"/>
            <ac:spMk id="89" creationId="{482C7032-B3BC-7402-8559-EBE5500A3EDA}"/>
          </ac:spMkLst>
        </pc:spChg>
        <pc:spChg chg="mod">
          <ac:chgData name="mattia rodente" userId="8fa11c3836abf801" providerId="LiveId" clId="{FC0A5B9E-A933-42B1-819D-8B7A7CE0528E}" dt="2022-11-07T07:49:51.774" v="22" actId="1036"/>
          <ac:spMkLst>
            <pc:docMk/>
            <pc:sldMk cId="1106904903" sldId="261"/>
            <ac:spMk id="90" creationId="{DCA169D0-9838-8AA4-D369-5CE6A40F33FE}"/>
          </ac:spMkLst>
        </pc:spChg>
        <pc:spChg chg="mod">
          <ac:chgData name="mattia rodente" userId="8fa11c3836abf801" providerId="LiveId" clId="{FC0A5B9E-A933-42B1-819D-8B7A7CE0528E}" dt="2022-11-07T07:49:51.774" v="22" actId="1036"/>
          <ac:spMkLst>
            <pc:docMk/>
            <pc:sldMk cId="1106904903" sldId="261"/>
            <ac:spMk id="91" creationId="{3992E6A5-D509-8D26-EA7D-6ECF405F475A}"/>
          </ac:spMkLst>
        </pc:spChg>
        <pc:grpChg chg="mod">
          <ac:chgData name="mattia rodente" userId="8fa11c3836abf801" providerId="LiveId" clId="{FC0A5B9E-A933-42B1-819D-8B7A7CE0528E}" dt="2022-11-07T07:49:51.774" v="22" actId="1036"/>
          <ac:grpSpMkLst>
            <pc:docMk/>
            <pc:sldMk cId="1106904903" sldId="261"/>
            <ac:grpSpMk id="40" creationId="{25B96FE7-5E4F-2E87-46FF-66CF97899CC0}"/>
          </ac:grpSpMkLst>
        </pc:grpChg>
        <pc:grpChg chg="mod">
          <ac:chgData name="mattia rodente" userId="8fa11c3836abf801" providerId="LiveId" clId="{FC0A5B9E-A933-42B1-819D-8B7A7CE0528E}" dt="2022-11-07T07:49:51.774" v="22" actId="1036"/>
          <ac:grpSpMkLst>
            <pc:docMk/>
            <pc:sldMk cId="1106904903" sldId="261"/>
            <ac:grpSpMk id="45" creationId="{132D72A9-F77F-9F18-D3CE-4B96EF58CE81}"/>
          </ac:grpSpMkLst>
        </pc:grpChg>
        <pc:grpChg chg="mod">
          <ac:chgData name="mattia rodente" userId="8fa11c3836abf801" providerId="LiveId" clId="{FC0A5B9E-A933-42B1-819D-8B7A7CE0528E}" dt="2022-11-07T07:49:51.774" v="22" actId="1036"/>
          <ac:grpSpMkLst>
            <pc:docMk/>
            <pc:sldMk cId="1106904903" sldId="261"/>
            <ac:grpSpMk id="56" creationId="{691B4D42-02BE-FF8D-23CE-AE96D1C89052}"/>
          </ac:grpSpMkLst>
        </pc:grpChg>
        <pc:picChg chg="mod">
          <ac:chgData name="mattia rodente" userId="8fa11c3836abf801" providerId="LiveId" clId="{FC0A5B9E-A933-42B1-819D-8B7A7CE0528E}" dt="2022-11-07T07:49:51.774" v="22" actId="1036"/>
          <ac:picMkLst>
            <pc:docMk/>
            <pc:sldMk cId="1106904903" sldId="261"/>
            <ac:picMk id="29" creationId="{75CAF539-8ABF-BECD-4D83-8840829F3CFC}"/>
          </ac:picMkLst>
        </pc:picChg>
        <pc:picChg chg="mod">
          <ac:chgData name="mattia rodente" userId="8fa11c3836abf801" providerId="LiveId" clId="{FC0A5B9E-A933-42B1-819D-8B7A7CE0528E}" dt="2022-11-07T07:49:51.774" v="22" actId="1036"/>
          <ac:picMkLst>
            <pc:docMk/>
            <pc:sldMk cId="1106904903" sldId="261"/>
            <ac:picMk id="30" creationId="{8A5ABFCE-EA09-BC34-DF74-01B564DD529E}"/>
          </ac:picMkLst>
        </pc:picChg>
        <pc:picChg chg="mod">
          <ac:chgData name="mattia rodente" userId="8fa11c3836abf801" providerId="LiveId" clId="{FC0A5B9E-A933-42B1-819D-8B7A7CE0528E}" dt="2022-11-07T07:49:51.774" v="22" actId="1036"/>
          <ac:picMkLst>
            <pc:docMk/>
            <pc:sldMk cId="1106904903" sldId="261"/>
            <ac:picMk id="31" creationId="{DC25CC73-DABF-CE62-612C-FB5B7106E0D0}"/>
          </ac:picMkLst>
        </pc:picChg>
        <pc:picChg chg="mod">
          <ac:chgData name="mattia rodente" userId="8fa11c3836abf801" providerId="LiveId" clId="{FC0A5B9E-A933-42B1-819D-8B7A7CE0528E}" dt="2022-11-07T07:49:51.774" v="22" actId="1036"/>
          <ac:picMkLst>
            <pc:docMk/>
            <pc:sldMk cId="1106904903" sldId="261"/>
            <ac:picMk id="38" creationId="{325BB302-D847-E522-6251-56371A8D817B}"/>
          </ac:picMkLst>
        </pc:picChg>
        <pc:picChg chg="mod">
          <ac:chgData name="mattia rodente" userId="8fa11c3836abf801" providerId="LiveId" clId="{FC0A5B9E-A933-42B1-819D-8B7A7CE0528E}" dt="2022-11-07T07:49:51.774" v="22" actId="1036"/>
          <ac:picMkLst>
            <pc:docMk/>
            <pc:sldMk cId="1106904903" sldId="261"/>
            <ac:picMk id="39" creationId="{E2EB8BA2-2DD6-BACA-BEC0-03B649EC43D3}"/>
          </ac:picMkLst>
        </pc:picChg>
        <pc:picChg chg="mod">
          <ac:chgData name="mattia rodente" userId="8fa11c3836abf801" providerId="LiveId" clId="{FC0A5B9E-A933-42B1-819D-8B7A7CE0528E}" dt="2022-11-07T07:49:51.774" v="22" actId="1036"/>
          <ac:picMkLst>
            <pc:docMk/>
            <pc:sldMk cId="1106904903" sldId="261"/>
            <ac:picMk id="50" creationId="{C3571C6A-2DCF-CAD1-1FF4-20A62746F749}"/>
          </ac:picMkLst>
        </pc:picChg>
        <pc:picChg chg="mod">
          <ac:chgData name="mattia rodente" userId="8fa11c3836abf801" providerId="LiveId" clId="{FC0A5B9E-A933-42B1-819D-8B7A7CE0528E}" dt="2022-11-07T07:49:51.774" v="22" actId="1036"/>
          <ac:picMkLst>
            <pc:docMk/>
            <pc:sldMk cId="1106904903" sldId="261"/>
            <ac:picMk id="57" creationId="{D88AD493-CFEF-C03A-0E8C-314B9BC653F1}"/>
          </ac:picMkLst>
        </pc:picChg>
        <pc:picChg chg="mod">
          <ac:chgData name="mattia rodente" userId="8fa11c3836abf801" providerId="LiveId" clId="{FC0A5B9E-A933-42B1-819D-8B7A7CE0528E}" dt="2022-11-07T07:49:51.774" v="22" actId="1036"/>
          <ac:picMkLst>
            <pc:docMk/>
            <pc:sldMk cId="1106904903" sldId="261"/>
            <ac:picMk id="58" creationId="{AD5043FF-C607-6EB2-E292-3D84AE5B58C3}"/>
          </ac:picMkLst>
        </pc:picChg>
        <pc:picChg chg="mod">
          <ac:chgData name="mattia rodente" userId="8fa11c3836abf801" providerId="LiveId" clId="{FC0A5B9E-A933-42B1-819D-8B7A7CE0528E}" dt="2022-11-07T07:49:51.774" v="22" actId="1036"/>
          <ac:picMkLst>
            <pc:docMk/>
            <pc:sldMk cId="1106904903" sldId="261"/>
            <ac:picMk id="59" creationId="{D6DE44D2-5CEE-1263-B363-09E6FBF62039}"/>
          </ac:picMkLst>
        </pc:picChg>
        <pc:picChg chg="mod">
          <ac:chgData name="mattia rodente" userId="8fa11c3836abf801" providerId="LiveId" clId="{FC0A5B9E-A933-42B1-819D-8B7A7CE0528E}" dt="2022-11-07T07:49:51.774" v="22" actId="1036"/>
          <ac:picMkLst>
            <pc:docMk/>
            <pc:sldMk cId="1106904903" sldId="261"/>
            <ac:picMk id="60" creationId="{7A8FA9A5-B6AC-68FF-C688-39A448FDB422}"/>
          </ac:picMkLst>
        </pc:picChg>
        <pc:picChg chg="mod">
          <ac:chgData name="mattia rodente" userId="8fa11c3836abf801" providerId="LiveId" clId="{FC0A5B9E-A933-42B1-819D-8B7A7CE0528E}" dt="2022-11-07T07:49:51.774" v="22" actId="1036"/>
          <ac:picMkLst>
            <pc:docMk/>
            <pc:sldMk cId="1106904903" sldId="261"/>
            <ac:picMk id="61" creationId="{DFBA82A4-A0CB-3556-010B-81AE3AC8BB0C}"/>
          </ac:picMkLst>
        </pc:picChg>
        <pc:picChg chg="mod">
          <ac:chgData name="mattia rodente" userId="8fa11c3836abf801" providerId="LiveId" clId="{FC0A5B9E-A933-42B1-819D-8B7A7CE0528E}" dt="2022-11-07T07:49:51.774" v="22" actId="1036"/>
          <ac:picMkLst>
            <pc:docMk/>
            <pc:sldMk cId="1106904903" sldId="261"/>
            <ac:picMk id="62" creationId="{26BFF7D9-82A7-62EF-E3B5-69C9FB8C4691}"/>
          </ac:picMkLst>
        </pc:picChg>
        <pc:picChg chg="mod">
          <ac:chgData name="mattia rodente" userId="8fa11c3836abf801" providerId="LiveId" clId="{FC0A5B9E-A933-42B1-819D-8B7A7CE0528E}" dt="2022-11-07T07:49:51.774" v="22" actId="1036"/>
          <ac:picMkLst>
            <pc:docMk/>
            <pc:sldMk cId="1106904903" sldId="261"/>
            <ac:picMk id="63" creationId="{4ABC14A0-D797-50F9-C0E7-ECF8BF57F742}"/>
          </ac:picMkLst>
        </pc:picChg>
        <pc:picChg chg="mod">
          <ac:chgData name="mattia rodente" userId="8fa11c3836abf801" providerId="LiveId" clId="{FC0A5B9E-A933-42B1-819D-8B7A7CE0528E}" dt="2022-11-07T07:49:51.774" v="22" actId="1036"/>
          <ac:picMkLst>
            <pc:docMk/>
            <pc:sldMk cId="1106904903" sldId="261"/>
            <ac:picMk id="64" creationId="{A043CB9C-1291-78DD-759B-BFF422E6BA54}"/>
          </ac:picMkLst>
        </pc:picChg>
        <pc:picChg chg="mod">
          <ac:chgData name="mattia rodente" userId="8fa11c3836abf801" providerId="LiveId" clId="{FC0A5B9E-A933-42B1-819D-8B7A7CE0528E}" dt="2022-11-07T07:49:51.774" v="22" actId="1036"/>
          <ac:picMkLst>
            <pc:docMk/>
            <pc:sldMk cId="1106904903" sldId="261"/>
            <ac:picMk id="65" creationId="{21F44C91-24DE-9D4F-2B0A-58E953EA5B26}"/>
          </ac:picMkLst>
        </pc:picChg>
        <pc:picChg chg="mod">
          <ac:chgData name="mattia rodente" userId="8fa11c3836abf801" providerId="LiveId" clId="{FC0A5B9E-A933-42B1-819D-8B7A7CE0528E}" dt="2022-11-07T07:49:51.774" v="22" actId="1036"/>
          <ac:picMkLst>
            <pc:docMk/>
            <pc:sldMk cId="1106904903" sldId="261"/>
            <ac:picMk id="66" creationId="{C5601CAA-D03A-A9A6-3E09-F6AB516E9DA5}"/>
          </ac:picMkLst>
        </pc:picChg>
        <pc:picChg chg="mod">
          <ac:chgData name="mattia rodente" userId="8fa11c3836abf801" providerId="LiveId" clId="{FC0A5B9E-A933-42B1-819D-8B7A7CE0528E}" dt="2022-11-07T07:49:51.774" v="22" actId="1036"/>
          <ac:picMkLst>
            <pc:docMk/>
            <pc:sldMk cId="1106904903" sldId="261"/>
            <ac:picMk id="67" creationId="{71F7B638-12F5-C774-E22B-7FC35A58CEE7}"/>
          </ac:picMkLst>
        </pc:picChg>
        <pc:picChg chg="mod">
          <ac:chgData name="mattia rodente" userId="8fa11c3836abf801" providerId="LiveId" clId="{FC0A5B9E-A933-42B1-819D-8B7A7CE0528E}" dt="2022-11-07T07:49:51.774" v="22" actId="1036"/>
          <ac:picMkLst>
            <pc:docMk/>
            <pc:sldMk cId="1106904903" sldId="261"/>
            <ac:picMk id="68" creationId="{646B5E31-A0CE-03E3-88D5-A011A4AEF500}"/>
          </ac:picMkLst>
        </pc:picChg>
        <pc:picChg chg="mod">
          <ac:chgData name="mattia rodente" userId="8fa11c3836abf801" providerId="LiveId" clId="{FC0A5B9E-A933-42B1-819D-8B7A7CE0528E}" dt="2022-11-07T07:49:51.774" v="22" actId="1036"/>
          <ac:picMkLst>
            <pc:docMk/>
            <pc:sldMk cId="1106904903" sldId="261"/>
            <ac:picMk id="69" creationId="{BCADBC3A-DABE-05CD-3435-8AD7F830F0B9}"/>
          </ac:picMkLst>
        </pc:picChg>
        <pc:picChg chg="mod">
          <ac:chgData name="mattia rodente" userId="8fa11c3836abf801" providerId="LiveId" clId="{FC0A5B9E-A933-42B1-819D-8B7A7CE0528E}" dt="2022-11-07T07:49:51.774" v="22" actId="1036"/>
          <ac:picMkLst>
            <pc:docMk/>
            <pc:sldMk cId="1106904903" sldId="261"/>
            <ac:picMk id="70" creationId="{1F72F9F2-D0FD-94FA-06BD-9C5D52B07830}"/>
          </ac:picMkLst>
        </pc:picChg>
        <pc:picChg chg="mod">
          <ac:chgData name="mattia rodente" userId="8fa11c3836abf801" providerId="LiveId" clId="{FC0A5B9E-A933-42B1-819D-8B7A7CE0528E}" dt="2022-11-07T07:49:51.774" v="22" actId="1036"/>
          <ac:picMkLst>
            <pc:docMk/>
            <pc:sldMk cId="1106904903" sldId="261"/>
            <ac:picMk id="71" creationId="{67F00870-74F0-E7C7-7374-D6949C30AF1C}"/>
          </ac:picMkLst>
        </pc:picChg>
        <pc:picChg chg="mod">
          <ac:chgData name="mattia rodente" userId="8fa11c3836abf801" providerId="LiveId" clId="{FC0A5B9E-A933-42B1-819D-8B7A7CE0528E}" dt="2022-11-07T07:49:51.774" v="22" actId="1036"/>
          <ac:picMkLst>
            <pc:docMk/>
            <pc:sldMk cId="1106904903" sldId="261"/>
            <ac:picMk id="72" creationId="{E0E1E5C6-817F-0304-AC9B-F81E73210E3F}"/>
          </ac:picMkLst>
        </pc:picChg>
        <pc:picChg chg="mod">
          <ac:chgData name="mattia rodente" userId="8fa11c3836abf801" providerId="LiveId" clId="{FC0A5B9E-A933-42B1-819D-8B7A7CE0528E}" dt="2022-11-07T07:49:51.774" v="22" actId="1036"/>
          <ac:picMkLst>
            <pc:docMk/>
            <pc:sldMk cId="1106904903" sldId="261"/>
            <ac:picMk id="73" creationId="{DFBA748F-BDFB-C3E3-FEE9-BECDFE73C4F8}"/>
          </ac:picMkLst>
        </pc:picChg>
        <pc:picChg chg="mod">
          <ac:chgData name="mattia rodente" userId="8fa11c3836abf801" providerId="LiveId" clId="{FC0A5B9E-A933-42B1-819D-8B7A7CE0528E}" dt="2022-11-07T07:49:51.774" v="22" actId="1036"/>
          <ac:picMkLst>
            <pc:docMk/>
            <pc:sldMk cId="1106904903" sldId="261"/>
            <ac:picMk id="74" creationId="{C8EE099E-1F13-2B24-F83E-AB9371CB371D}"/>
          </ac:picMkLst>
        </pc:picChg>
        <pc:picChg chg="mod">
          <ac:chgData name="mattia rodente" userId="8fa11c3836abf801" providerId="LiveId" clId="{FC0A5B9E-A933-42B1-819D-8B7A7CE0528E}" dt="2022-11-07T07:49:51.774" v="22" actId="1036"/>
          <ac:picMkLst>
            <pc:docMk/>
            <pc:sldMk cId="1106904903" sldId="261"/>
            <ac:picMk id="75" creationId="{C4F4C627-4BEA-08D4-D460-A0F740E7C510}"/>
          </ac:picMkLst>
        </pc:picChg>
        <pc:picChg chg="mod">
          <ac:chgData name="mattia rodente" userId="8fa11c3836abf801" providerId="LiveId" clId="{FC0A5B9E-A933-42B1-819D-8B7A7CE0528E}" dt="2022-11-07T07:49:51.774" v="22" actId="1036"/>
          <ac:picMkLst>
            <pc:docMk/>
            <pc:sldMk cId="1106904903" sldId="261"/>
            <ac:picMk id="76" creationId="{158794CC-1457-3CF2-CF28-62C086A80B2A}"/>
          </ac:picMkLst>
        </pc:picChg>
        <pc:picChg chg="mod">
          <ac:chgData name="mattia rodente" userId="8fa11c3836abf801" providerId="LiveId" clId="{FC0A5B9E-A933-42B1-819D-8B7A7CE0528E}" dt="2022-11-07T07:49:51.774" v="22" actId="1036"/>
          <ac:picMkLst>
            <pc:docMk/>
            <pc:sldMk cId="1106904903" sldId="261"/>
            <ac:picMk id="77" creationId="{CEE9E5D0-27D6-5BE1-72C9-A04314D25207}"/>
          </ac:picMkLst>
        </pc:picChg>
        <pc:picChg chg="mod">
          <ac:chgData name="mattia rodente" userId="8fa11c3836abf801" providerId="LiveId" clId="{FC0A5B9E-A933-42B1-819D-8B7A7CE0528E}" dt="2022-11-07T07:49:51.774" v="22" actId="1036"/>
          <ac:picMkLst>
            <pc:docMk/>
            <pc:sldMk cId="1106904903" sldId="261"/>
            <ac:picMk id="78" creationId="{E7C4ECF1-29D5-0118-0CF7-F9E14F272451}"/>
          </ac:picMkLst>
        </pc:picChg>
        <pc:picChg chg="mod">
          <ac:chgData name="mattia rodente" userId="8fa11c3836abf801" providerId="LiveId" clId="{FC0A5B9E-A933-42B1-819D-8B7A7CE0528E}" dt="2022-11-07T07:49:51.774" v="22" actId="1036"/>
          <ac:picMkLst>
            <pc:docMk/>
            <pc:sldMk cId="1106904903" sldId="261"/>
            <ac:picMk id="79" creationId="{7B67E798-E1DE-EC25-2E02-31FD57B3123D}"/>
          </ac:picMkLst>
        </pc:picChg>
        <pc:picChg chg="mod">
          <ac:chgData name="mattia rodente" userId="8fa11c3836abf801" providerId="LiveId" clId="{FC0A5B9E-A933-42B1-819D-8B7A7CE0528E}" dt="2022-11-07T07:49:51.774" v="22" actId="1036"/>
          <ac:picMkLst>
            <pc:docMk/>
            <pc:sldMk cId="1106904903" sldId="261"/>
            <ac:picMk id="80" creationId="{E2D659B2-8438-41F4-7C0D-8AE46BFD0158}"/>
          </ac:picMkLst>
        </pc:picChg>
        <pc:picChg chg="mod">
          <ac:chgData name="mattia rodente" userId="8fa11c3836abf801" providerId="LiveId" clId="{FC0A5B9E-A933-42B1-819D-8B7A7CE0528E}" dt="2022-11-07T07:49:51.774" v="22" actId="1036"/>
          <ac:picMkLst>
            <pc:docMk/>
            <pc:sldMk cId="1106904903" sldId="261"/>
            <ac:picMk id="81" creationId="{46F41040-ACFD-A611-465B-328CDF8A3F1E}"/>
          </ac:picMkLst>
        </pc:picChg>
        <pc:picChg chg="mod">
          <ac:chgData name="mattia rodente" userId="8fa11c3836abf801" providerId="LiveId" clId="{FC0A5B9E-A933-42B1-819D-8B7A7CE0528E}" dt="2022-11-07T07:49:51.774" v="22" actId="1036"/>
          <ac:picMkLst>
            <pc:docMk/>
            <pc:sldMk cId="1106904903" sldId="261"/>
            <ac:picMk id="82" creationId="{5B612A3A-D49B-29E8-A34D-7305DBA54B19}"/>
          </ac:picMkLst>
        </pc:picChg>
        <pc:picChg chg="mod">
          <ac:chgData name="mattia rodente" userId="8fa11c3836abf801" providerId="LiveId" clId="{FC0A5B9E-A933-42B1-819D-8B7A7CE0528E}" dt="2022-11-07T07:49:51.774" v="22" actId="1036"/>
          <ac:picMkLst>
            <pc:docMk/>
            <pc:sldMk cId="1106904903" sldId="261"/>
            <ac:picMk id="83" creationId="{9AEC9885-9CD1-15C1-4695-A2D0B40B9A01}"/>
          </ac:picMkLst>
        </pc:picChg>
        <pc:picChg chg="mod">
          <ac:chgData name="mattia rodente" userId="8fa11c3836abf801" providerId="LiveId" clId="{FC0A5B9E-A933-42B1-819D-8B7A7CE0528E}" dt="2022-11-07T07:49:51.774" v="22" actId="1036"/>
          <ac:picMkLst>
            <pc:docMk/>
            <pc:sldMk cId="1106904903" sldId="261"/>
            <ac:picMk id="84" creationId="{09A72A98-684F-A957-D415-AC9AD6B28940}"/>
          </ac:picMkLst>
        </pc:picChg>
        <pc:picChg chg="mod">
          <ac:chgData name="mattia rodente" userId="8fa11c3836abf801" providerId="LiveId" clId="{FC0A5B9E-A933-42B1-819D-8B7A7CE0528E}" dt="2022-11-07T07:49:51.774" v="22" actId="1036"/>
          <ac:picMkLst>
            <pc:docMk/>
            <pc:sldMk cId="1106904903" sldId="261"/>
            <ac:picMk id="85" creationId="{6A8535DE-71E5-665A-571D-00FC520B84E2}"/>
          </ac:picMkLst>
        </pc:picChg>
        <pc:picChg chg="mod">
          <ac:chgData name="mattia rodente" userId="8fa11c3836abf801" providerId="LiveId" clId="{FC0A5B9E-A933-42B1-819D-8B7A7CE0528E}" dt="2022-11-07T07:49:51.774" v="22" actId="1036"/>
          <ac:picMkLst>
            <pc:docMk/>
            <pc:sldMk cId="1106904903" sldId="261"/>
            <ac:picMk id="86" creationId="{44AC002D-0EC4-F6B0-A85E-65608823FEE7}"/>
          </ac:picMkLst>
        </pc:picChg>
        <pc:picChg chg="mod">
          <ac:chgData name="mattia rodente" userId="8fa11c3836abf801" providerId="LiveId" clId="{FC0A5B9E-A933-42B1-819D-8B7A7CE0528E}" dt="2022-11-07T07:49:51.774" v="22" actId="1036"/>
          <ac:picMkLst>
            <pc:docMk/>
            <pc:sldMk cId="1106904903" sldId="261"/>
            <ac:picMk id="87" creationId="{F432F00A-C083-8F78-AC94-E1DBC873A727}"/>
          </ac:picMkLst>
        </pc:picChg>
        <pc:picChg chg="mod">
          <ac:chgData name="mattia rodente" userId="8fa11c3836abf801" providerId="LiveId" clId="{FC0A5B9E-A933-42B1-819D-8B7A7CE0528E}" dt="2022-11-07T07:49:51.774" v="22" actId="1036"/>
          <ac:picMkLst>
            <pc:docMk/>
            <pc:sldMk cId="1106904903" sldId="261"/>
            <ac:picMk id="88" creationId="{38431903-6AE8-E92C-92F7-43B10761FBA0}"/>
          </ac:picMkLst>
        </pc:picChg>
        <pc:cxnChg chg="mod">
          <ac:chgData name="mattia rodente" userId="8fa11c3836abf801" providerId="LiveId" clId="{FC0A5B9E-A933-42B1-819D-8B7A7CE0528E}" dt="2022-11-07T07:49:51.774" v="22" actId="1036"/>
          <ac:cxnSpMkLst>
            <pc:docMk/>
            <pc:sldMk cId="1106904903" sldId="261"/>
            <ac:cxnSpMk id="11" creationId="{834BB272-94EA-E0CB-5A7E-BCFF1A98B949}"/>
          </ac:cxnSpMkLst>
        </pc:cxnChg>
        <pc:cxnChg chg="mod">
          <ac:chgData name="mattia rodente" userId="8fa11c3836abf801" providerId="LiveId" clId="{FC0A5B9E-A933-42B1-819D-8B7A7CE0528E}" dt="2022-11-07T07:49:51.774" v="22" actId="1036"/>
          <ac:cxnSpMkLst>
            <pc:docMk/>
            <pc:sldMk cId="1106904903" sldId="261"/>
            <ac:cxnSpMk id="15" creationId="{C730FDB6-FA43-9B02-5814-407F250CDE34}"/>
          </ac:cxnSpMkLst>
        </pc:cxnChg>
        <pc:cxnChg chg="mod">
          <ac:chgData name="mattia rodente" userId="8fa11c3836abf801" providerId="LiveId" clId="{FC0A5B9E-A933-42B1-819D-8B7A7CE0528E}" dt="2022-11-07T07:49:51.774" v="22" actId="1036"/>
          <ac:cxnSpMkLst>
            <pc:docMk/>
            <pc:sldMk cId="1106904903" sldId="261"/>
            <ac:cxnSpMk id="17" creationId="{673D018A-22AC-1F59-229F-68C23FF4A48A}"/>
          </ac:cxnSpMkLst>
        </pc:cxnChg>
        <pc:cxnChg chg="mod">
          <ac:chgData name="mattia rodente" userId="8fa11c3836abf801" providerId="LiveId" clId="{FC0A5B9E-A933-42B1-819D-8B7A7CE0528E}" dt="2022-11-07T07:49:51.774" v="22" actId="1036"/>
          <ac:cxnSpMkLst>
            <pc:docMk/>
            <pc:sldMk cId="1106904903" sldId="261"/>
            <ac:cxnSpMk id="23" creationId="{A52013BE-B5ED-77F5-F380-768C127F3CCC}"/>
          </ac:cxnSpMkLst>
        </pc:cxnChg>
        <pc:cxnChg chg="mod">
          <ac:chgData name="mattia rodente" userId="8fa11c3836abf801" providerId="LiveId" clId="{FC0A5B9E-A933-42B1-819D-8B7A7CE0528E}" dt="2022-11-07T07:49:51.774" v="22" actId="1036"/>
          <ac:cxnSpMkLst>
            <pc:docMk/>
            <pc:sldMk cId="1106904903" sldId="261"/>
            <ac:cxnSpMk id="26" creationId="{86B659AD-294D-2AB0-2EFD-8FC883989A1D}"/>
          </ac:cxnSpMkLst>
        </pc:cxnChg>
      </pc:sldChg>
      <pc:sldChg chg="modSp mod">
        <pc:chgData name="mattia rodente" userId="8fa11c3836abf801" providerId="LiveId" clId="{FC0A5B9E-A933-42B1-819D-8B7A7CE0528E}" dt="2022-11-07T07:52:14.328" v="52" actId="12788"/>
        <pc:sldMkLst>
          <pc:docMk/>
          <pc:sldMk cId="3952602479" sldId="262"/>
        </pc:sldMkLst>
        <pc:spChg chg="mod">
          <ac:chgData name="mattia rodente" userId="8fa11c3836abf801" providerId="LiveId" clId="{FC0A5B9E-A933-42B1-819D-8B7A7CE0528E}" dt="2022-11-07T07:52:14.328" v="52" actId="12788"/>
          <ac:spMkLst>
            <pc:docMk/>
            <pc:sldMk cId="3952602479" sldId="262"/>
            <ac:spMk id="5" creationId="{D0C79BDD-7790-0D8D-6EE3-6E56B845B63F}"/>
          </ac:spMkLst>
        </pc:spChg>
      </pc:sldChg>
      <pc:sldChg chg="modSp mod">
        <pc:chgData name="mattia rodente" userId="8fa11c3836abf801" providerId="LiveId" clId="{FC0A5B9E-A933-42B1-819D-8B7A7CE0528E}" dt="2022-11-07T07:50:41.114" v="36" actId="1036"/>
        <pc:sldMkLst>
          <pc:docMk/>
          <pc:sldMk cId="2808805931" sldId="263"/>
        </pc:sldMkLst>
        <pc:spChg chg="mod">
          <ac:chgData name="mattia rodente" userId="8fa11c3836abf801" providerId="LiveId" clId="{FC0A5B9E-A933-42B1-819D-8B7A7CE0528E}" dt="2022-11-07T07:50:41.114" v="36" actId="1036"/>
          <ac:spMkLst>
            <pc:docMk/>
            <pc:sldMk cId="2808805931" sldId="263"/>
            <ac:spMk id="4" creationId="{54F26C88-978B-2E74-2F5A-9BD35048C154}"/>
          </ac:spMkLst>
        </pc:spChg>
        <pc:spChg chg="mod">
          <ac:chgData name="mattia rodente" userId="8fa11c3836abf801" providerId="LiveId" clId="{FC0A5B9E-A933-42B1-819D-8B7A7CE0528E}" dt="2022-11-07T07:50:33.414" v="25" actId="14100"/>
          <ac:spMkLst>
            <pc:docMk/>
            <pc:sldMk cId="2808805931" sldId="263"/>
            <ac:spMk id="7" creationId="{0D0DF408-A468-89ED-CAE4-7733E1DF8923}"/>
          </ac:spMkLst>
        </pc:spChg>
        <pc:spChg chg="mod">
          <ac:chgData name="mattia rodente" userId="8fa11c3836abf801" providerId="LiveId" clId="{FC0A5B9E-A933-42B1-819D-8B7A7CE0528E}" dt="2022-11-07T07:50:41.114" v="36" actId="1036"/>
          <ac:spMkLst>
            <pc:docMk/>
            <pc:sldMk cId="2808805931" sldId="263"/>
            <ac:spMk id="9" creationId="{9085C6DB-30E3-DAA2-986D-9D0B078A2CCF}"/>
          </ac:spMkLst>
        </pc:spChg>
        <pc:spChg chg="mod">
          <ac:chgData name="mattia rodente" userId="8fa11c3836abf801" providerId="LiveId" clId="{FC0A5B9E-A933-42B1-819D-8B7A7CE0528E}" dt="2022-11-07T07:50:41.114" v="36" actId="1036"/>
          <ac:spMkLst>
            <pc:docMk/>
            <pc:sldMk cId="2808805931" sldId="263"/>
            <ac:spMk id="10" creationId="{5FAE1104-BAB4-5430-8FA2-D84DA2C3DC9B}"/>
          </ac:spMkLst>
        </pc:spChg>
        <pc:spChg chg="mod">
          <ac:chgData name="mattia rodente" userId="8fa11c3836abf801" providerId="LiveId" clId="{FC0A5B9E-A933-42B1-819D-8B7A7CE0528E}" dt="2022-11-07T07:50:41.114" v="36" actId="1036"/>
          <ac:spMkLst>
            <pc:docMk/>
            <pc:sldMk cId="2808805931" sldId="263"/>
            <ac:spMk id="11" creationId="{4D39394C-14F1-39DA-3ED5-B9F7B20D5F8D}"/>
          </ac:spMkLst>
        </pc:spChg>
        <pc:spChg chg="mod">
          <ac:chgData name="mattia rodente" userId="8fa11c3836abf801" providerId="LiveId" clId="{FC0A5B9E-A933-42B1-819D-8B7A7CE0528E}" dt="2022-11-07T07:50:41.114" v="36" actId="1036"/>
          <ac:spMkLst>
            <pc:docMk/>
            <pc:sldMk cId="2808805931" sldId="263"/>
            <ac:spMk id="12" creationId="{78442CA0-4DFC-0FDF-0514-B131D9609389}"/>
          </ac:spMkLst>
        </pc:spChg>
        <pc:spChg chg="mod">
          <ac:chgData name="mattia rodente" userId="8fa11c3836abf801" providerId="LiveId" clId="{FC0A5B9E-A933-42B1-819D-8B7A7CE0528E}" dt="2022-11-07T07:50:41.114" v="36" actId="1036"/>
          <ac:spMkLst>
            <pc:docMk/>
            <pc:sldMk cId="2808805931" sldId="263"/>
            <ac:spMk id="13" creationId="{CCB0FDC5-FC3B-B185-EFB8-2A1A888C78CB}"/>
          </ac:spMkLst>
        </pc:spChg>
        <pc:spChg chg="mod">
          <ac:chgData name="mattia rodente" userId="8fa11c3836abf801" providerId="LiveId" clId="{FC0A5B9E-A933-42B1-819D-8B7A7CE0528E}" dt="2022-11-07T07:50:41.114" v="36" actId="1036"/>
          <ac:spMkLst>
            <pc:docMk/>
            <pc:sldMk cId="2808805931" sldId="263"/>
            <ac:spMk id="14" creationId="{D14BAF84-5181-F6B1-706E-1FC7E7DC5776}"/>
          </ac:spMkLst>
        </pc:spChg>
        <pc:grpChg chg="mod">
          <ac:chgData name="mattia rodente" userId="8fa11c3836abf801" providerId="LiveId" clId="{FC0A5B9E-A933-42B1-819D-8B7A7CE0528E}" dt="2022-11-07T07:50:41.114" v="36" actId="1036"/>
          <ac:grpSpMkLst>
            <pc:docMk/>
            <pc:sldMk cId="2808805931" sldId="263"/>
            <ac:grpSpMk id="17" creationId="{26440D1C-2A9B-346C-4C77-E5A5D4D90316}"/>
          </ac:grpSpMkLst>
        </pc:grpChg>
        <pc:picChg chg="mod">
          <ac:chgData name="mattia rodente" userId="8fa11c3836abf801" providerId="LiveId" clId="{FC0A5B9E-A933-42B1-819D-8B7A7CE0528E}" dt="2022-11-07T07:50:41.114" v="36" actId="1036"/>
          <ac:picMkLst>
            <pc:docMk/>
            <pc:sldMk cId="2808805931" sldId="263"/>
            <ac:picMk id="15" creationId="{B8098407-0ED8-6E73-4797-886749BEB5B0}"/>
          </ac:picMkLst>
        </pc:picChg>
        <pc:picChg chg="mod">
          <ac:chgData name="mattia rodente" userId="8fa11c3836abf801" providerId="LiveId" clId="{FC0A5B9E-A933-42B1-819D-8B7A7CE0528E}" dt="2022-11-07T07:50:41.114" v="36" actId="1036"/>
          <ac:picMkLst>
            <pc:docMk/>
            <pc:sldMk cId="2808805931" sldId="263"/>
            <ac:picMk id="43" creationId="{586D3DD9-10A9-71AB-C306-70C7E641884B}"/>
          </ac:picMkLst>
        </pc:picChg>
        <pc:picChg chg="mod">
          <ac:chgData name="mattia rodente" userId="8fa11c3836abf801" providerId="LiveId" clId="{FC0A5B9E-A933-42B1-819D-8B7A7CE0528E}" dt="2022-11-07T07:50:41.114" v="36" actId="1036"/>
          <ac:picMkLst>
            <pc:docMk/>
            <pc:sldMk cId="2808805931" sldId="263"/>
            <ac:picMk id="44" creationId="{CC0AEAA4-502B-3131-5796-ED1A9A188BCA}"/>
          </ac:picMkLst>
        </pc:picChg>
        <pc:picChg chg="mod">
          <ac:chgData name="mattia rodente" userId="8fa11c3836abf801" providerId="LiveId" clId="{FC0A5B9E-A933-42B1-819D-8B7A7CE0528E}" dt="2022-11-07T07:50:41.114" v="36" actId="1036"/>
          <ac:picMkLst>
            <pc:docMk/>
            <pc:sldMk cId="2808805931" sldId="263"/>
            <ac:picMk id="45" creationId="{0898597F-B0C4-FB46-02E3-5BEF267417DE}"/>
          </ac:picMkLst>
        </pc:picChg>
        <pc:picChg chg="mod">
          <ac:chgData name="mattia rodente" userId="8fa11c3836abf801" providerId="LiveId" clId="{FC0A5B9E-A933-42B1-819D-8B7A7CE0528E}" dt="2022-11-07T07:50:41.114" v="36" actId="1036"/>
          <ac:picMkLst>
            <pc:docMk/>
            <pc:sldMk cId="2808805931" sldId="263"/>
            <ac:picMk id="46" creationId="{42DDCC7E-2F17-22C1-DEE6-3E22BF0B6C6F}"/>
          </ac:picMkLst>
        </pc:picChg>
        <pc:cxnChg chg="mod">
          <ac:chgData name="mattia rodente" userId="8fa11c3836abf801" providerId="LiveId" clId="{FC0A5B9E-A933-42B1-819D-8B7A7CE0528E}" dt="2022-11-07T07:50:41.114" v="36" actId="1036"/>
          <ac:cxnSpMkLst>
            <pc:docMk/>
            <pc:sldMk cId="2808805931" sldId="263"/>
            <ac:cxnSpMk id="2" creationId="{473AC5A2-032C-D4D1-A3AE-727C8D4C3BA8}"/>
          </ac:cxnSpMkLst>
        </pc:cxnChg>
        <pc:cxnChg chg="mod">
          <ac:chgData name="mattia rodente" userId="8fa11c3836abf801" providerId="LiveId" clId="{FC0A5B9E-A933-42B1-819D-8B7A7CE0528E}" dt="2022-11-07T07:50:41.114" v="36" actId="1036"/>
          <ac:cxnSpMkLst>
            <pc:docMk/>
            <pc:sldMk cId="2808805931" sldId="263"/>
            <ac:cxnSpMk id="3" creationId="{3FE129FE-6C36-D740-4F55-8CE6FD1D1683}"/>
          </ac:cxnSpMkLst>
        </pc:cxnChg>
        <pc:cxnChg chg="mod">
          <ac:chgData name="mattia rodente" userId="8fa11c3836abf801" providerId="LiveId" clId="{FC0A5B9E-A933-42B1-819D-8B7A7CE0528E}" dt="2022-11-07T07:50:41.114" v="36" actId="1036"/>
          <ac:cxnSpMkLst>
            <pc:docMk/>
            <pc:sldMk cId="2808805931" sldId="263"/>
            <ac:cxnSpMk id="5" creationId="{674CB544-509A-2210-A17B-64A596FCE99E}"/>
          </ac:cxnSpMkLst>
        </pc:cxnChg>
        <pc:cxnChg chg="mod">
          <ac:chgData name="mattia rodente" userId="8fa11c3836abf801" providerId="LiveId" clId="{FC0A5B9E-A933-42B1-819D-8B7A7CE0528E}" dt="2022-11-07T07:50:41.114" v="36" actId="1036"/>
          <ac:cxnSpMkLst>
            <pc:docMk/>
            <pc:sldMk cId="2808805931" sldId="263"/>
            <ac:cxnSpMk id="6" creationId="{4E3A41B2-AB28-3AEF-4184-D0667F939FE8}"/>
          </ac:cxnSpMkLst>
        </pc:cxnChg>
        <pc:cxnChg chg="mod">
          <ac:chgData name="mattia rodente" userId="8fa11c3836abf801" providerId="LiveId" clId="{FC0A5B9E-A933-42B1-819D-8B7A7CE0528E}" dt="2022-11-07T07:50:41.114" v="36" actId="1036"/>
          <ac:cxnSpMkLst>
            <pc:docMk/>
            <pc:sldMk cId="2808805931" sldId="263"/>
            <ac:cxnSpMk id="16" creationId="{82AFCB6E-D23A-37DE-FA96-71CAB03AEB2B}"/>
          </ac:cxnSpMkLst>
        </pc:cxnChg>
      </pc:sldChg>
      <pc:sldChg chg="modSp mod">
        <pc:chgData name="mattia rodente" userId="8fa11c3836abf801" providerId="LiveId" clId="{FC0A5B9E-A933-42B1-819D-8B7A7CE0528E}" dt="2022-11-07T07:52:26.036" v="54" actId="12788"/>
        <pc:sldMkLst>
          <pc:docMk/>
          <pc:sldMk cId="3198860231" sldId="264"/>
        </pc:sldMkLst>
        <pc:spChg chg="mod">
          <ac:chgData name="mattia rodente" userId="8fa11c3836abf801" providerId="LiveId" clId="{FC0A5B9E-A933-42B1-819D-8B7A7CE0528E}" dt="2022-11-07T07:52:26.036" v="54" actId="12788"/>
          <ac:spMkLst>
            <pc:docMk/>
            <pc:sldMk cId="3198860231" sldId="264"/>
            <ac:spMk id="2" creationId="{297C2083-BB7E-71CA-7F01-21739EDB2411}"/>
          </ac:spMkLst>
        </pc:spChg>
      </pc:sldChg>
      <pc:sldChg chg="modSp mod">
        <pc:chgData name="mattia rodente" userId="8fa11c3836abf801" providerId="LiveId" clId="{FC0A5B9E-A933-42B1-819D-8B7A7CE0528E}" dt="2022-11-07T08:09:41.411" v="132" actId="20577"/>
        <pc:sldMkLst>
          <pc:docMk/>
          <pc:sldMk cId="420009310" sldId="265"/>
        </pc:sldMkLst>
        <pc:spChg chg="mod">
          <ac:chgData name="mattia rodente" userId="8fa11c3836abf801" providerId="LiveId" clId="{FC0A5B9E-A933-42B1-819D-8B7A7CE0528E}" dt="2022-11-07T08:09:41.411" v="132" actId="20577"/>
          <ac:spMkLst>
            <pc:docMk/>
            <pc:sldMk cId="420009310" sldId="265"/>
            <ac:spMk id="24" creationId="{9592FB8E-4D23-D308-5A67-4F9584B6921C}"/>
          </ac:spMkLst>
        </pc:spChg>
      </pc:sldChg>
      <pc:sldChg chg="modSp mod">
        <pc:chgData name="mattia rodente" userId="8fa11c3836abf801" providerId="LiveId" clId="{FC0A5B9E-A933-42B1-819D-8B7A7CE0528E}" dt="2022-11-07T07:51:15.745" v="42" actId="12788"/>
        <pc:sldMkLst>
          <pc:docMk/>
          <pc:sldMk cId="3200566601" sldId="266"/>
        </pc:sldMkLst>
        <pc:spChg chg="mod">
          <ac:chgData name="mattia rodente" userId="8fa11c3836abf801" providerId="LiveId" clId="{FC0A5B9E-A933-42B1-819D-8B7A7CE0528E}" dt="2022-11-07T07:51:15.745" v="42" actId="12788"/>
          <ac:spMkLst>
            <pc:docMk/>
            <pc:sldMk cId="3200566601" sldId="266"/>
            <ac:spMk id="2" creationId="{608C735C-2DA1-3465-C663-78C05E35CBE3}"/>
          </ac:spMkLst>
        </pc:spChg>
      </pc:sldChg>
      <pc:sldChg chg="modSp mod">
        <pc:chgData name="mattia rodente" userId="8fa11c3836abf801" providerId="LiveId" clId="{FC0A5B9E-A933-42B1-819D-8B7A7CE0528E}" dt="2022-11-07T07:51:28.513" v="45" actId="122"/>
        <pc:sldMkLst>
          <pc:docMk/>
          <pc:sldMk cId="629090802" sldId="267"/>
        </pc:sldMkLst>
        <pc:spChg chg="mod">
          <ac:chgData name="mattia rodente" userId="8fa11c3836abf801" providerId="LiveId" clId="{FC0A5B9E-A933-42B1-819D-8B7A7CE0528E}" dt="2022-11-07T07:51:28.513" v="45" actId="122"/>
          <ac:spMkLst>
            <pc:docMk/>
            <pc:sldMk cId="629090802" sldId="267"/>
            <ac:spMk id="4" creationId="{6B088D22-F0F9-B0D8-5CF0-A41ABDB589C7}"/>
          </ac:spMkLst>
        </pc:spChg>
      </pc:sldChg>
      <pc:sldChg chg="del">
        <pc:chgData name="mattia rodente" userId="8fa11c3836abf801" providerId="LiveId" clId="{FC0A5B9E-A933-42B1-819D-8B7A7CE0528E}" dt="2022-11-07T07:47:52.992" v="0" actId="2696"/>
        <pc:sldMkLst>
          <pc:docMk/>
          <pc:sldMk cId="3737095839" sldId="8387"/>
        </pc:sldMkLst>
      </pc:sldChg>
      <pc:sldChg chg="add">
        <pc:chgData name="mattia rodente" userId="8fa11c3836abf801" providerId="LiveId" clId="{FC0A5B9E-A933-42B1-819D-8B7A7CE0528E}" dt="2022-11-07T07:47:56.520" v="1"/>
        <pc:sldMkLst>
          <pc:docMk/>
          <pc:sldMk cId="4211004337" sldId="8387"/>
        </pc:sldMkLst>
      </pc:sldChg>
      <pc:sldChg chg="del">
        <pc:chgData name="mattia rodente" userId="8fa11c3836abf801" providerId="LiveId" clId="{FC0A5B9E-A933-42B1-819D-8B7A7CE0528E}" dt="2022-11-07T07:47:58.459" v="2" actId="2696"/>
        <pc:sldMkLst>
          <pc:docMk/>
          <pc:sldMk cId="1182654219" sldId="13141"/>
        </pc:sldMkLst>
      </pc:sldChg>
      <pc:sldChg chg="add">
        <pc:chgData name="mattia rodente" userId="8fa11c3836abf801" providerId="LiveId" clId="{FC0A5B9E-A933-42B1-819D-8B7A7CE0528E}" dt="2022-11-07T07:48:02.690" v="3"/>
        <pc:sldMkLst>
          <pc:docMk/>
          <pc:sldMk cId="2340855775" sldId="13141"/>
        </pc:sldMkLst>
      </pc:sldChg>
      <pc:sldChg chg="addSp delSp modSp add mod">
        <pc:chgData name="mattia rodente" userId="8fa11c3836abf801" providerId="LiveId" clId="{FC0A5B9E-A933-42B1-819D-8B7A7CE0528E}" dt="2022-11-07T08:08:36.979" v="127" actId="20577"/>
        <pc:sldMkLst>
          <pc:docMk/>
          <pc:sldMk cId="3580591941" sldId="13142"/>
        </pc:sldMkLst>
        <pc:spChg chg="del">
          <ac:chgData name="mattia rodente" userId="8fa11c3836abf801" providerId="LiveId" clId="{FC0A5B9E-A933-42B1-819D-8B7A7CE0528E}" dt="2022-11-07T07:49:22.259" v="9" actId="478"/>
          <ac:spMkLst>
            <pc:docMk/>
            <pc:sldMk cId="3580591941" sldId="13142"/>
            <ac:spMk id="9" creationId="{B2195906-337B-AD6C-A708-E9BC96E81983}"/>
          </ac:spMkLst>
        </pc:spChg>
        <pc:spChg chg="del">
          <ac:chgData name="mattia rodente" userId="8fa11c3836abf801" providerId="LiveId" clId="{FC0A5B9E-A933-42B1-819D-8B7A7CE0528E}" dt="2022-11-07T07:49:22.259" v="9" actId="478"/>
          <ac:spMkLst>
            <pc:docMk/>
            <pc:sldMk cId="3580591941" sldId="13142"/>
            <ac:spMk id="10" creationId="{ED521CB7-3871-7820-FF7C-7A957DB6F3C9}"/>
          </ac:spMkLst>
        </pc:spChg>
        <pc:spChg chg="del">
          <ac:chgData name="mattia rodente" userId="8fa11c3836abf801" providerId="LiveId" clId="{FC0A5B9E-A933-42B1-819D-8B7A7CE0528E}" dt="2022-11-07T07:49:22.259" v="9" actId="478"/>
          <ac:spMkLst>
            <pc:docMk/>
            <pc:sldMk cId="3580591941" sldId="13142"/>
            <ac:spMk id="11" creationId="{B6CEE01D-77ED-22F8-0CC0-5EF665CD0ECF}"/>
          </ac:spMkLst>
        </pc:spChg>
        <pc:spChg chg="del">
          <ac:chgData name="mattia rodente" userId="8fa11c3836abf801" providerId="LiveId" clId="{FC0A5B9E-A933-42B1-819D-8B7A7CE0528E}" dt="2022-11-07T07:49:22.259" v="9" actId="478"/>
          <ac:spMkLst>
            <pc:docMk/>
            <pc:sldMk cId="3580591941" sldId="13142"/>
            <ac:spMk id="12" creationId="{21ABBA6E-3FE0-2979-6347-E2A292352395}"/>
          </ac:spMkLst>
        </pc:spChg>
        <pc:spChg chg="del">
          <ac:chgData name="mattia rodente" userId="8fa11c3836abf801" providerId="LiveId" clId="{FC0A5B9E-A933-42B1-819D-8B7A7CE0528E}" dt="2022-11-07T07:49:22.259" v="9" actId="478"/>
          <ac:spMkLst>
            <pc:docMk/>
            <pc:sldMk cId="3580591941" sldId="13142"/>
            <ac:spMk id="13" creationId="{A68B7745-FD7E-7E31-B76F-8961B38AD8A3}"/>
          </ac:spMkLst>
        </pc:spChg>
        <pc:spChg chg="del">
          <ac:chgData name="mattia rodente" userId="8fa11c3836abf801" providerId="LiveId" clId="{FC0A5B9E-A933-42B1-819D-8B7A7CE0528E}" dt="2022-11-07T07:49:22.259" v="9" actId="478"/>
          <ac:spMkLst>
            <pc:docMk/>
            <pc:sldMk cId="3580591941" sldId="13142"/>
            <ac:spMk id="80" creationId="{D48AE26C-1DC2-BD41-AE92-54AB8BA5E0BA}"/>
          </ac:spMkLst>
        </pc:spChg>
        <pc:spChg chg="mod">
          <ac:chgData name="mattia rodente" userId="8fa11c3836abf801" providerId="LiveId" clId="{FC0A5B9E-A933-42B1-819D-8B7A7CE0528E}" dt="2022-11-07T07:49:24.154" v="10"/>
          <ac:spMkLst>
            <pc:docMk/>
            <pc:sldMk cId="3580591941" sldId="13142"/>
            <ac:spMk id="82" creationId="{94414CC9-6D6B-8CED-1602-4E169F110754}"/>
          </ac:spMkLst>
        </pc:spChg>
        <pc:spChg chg="mod">
          <ac:chgData name="mattia rodente" userId="8fa11c3836abf801" providerId="LiveId" clId="{FC0A5B9E-A933-42B1-819D-8B7A7CE0528E}" dt="2022-11-07T07:49:24.154" v="10"/>
          <ac:spMkLst>
            <pc:docMk/>
            <pc:sldMk cId="3580591941" sldId="13142"/>
            <ac:spMk id="83" creationId="{BFEE4F93-98E5-8AA4-B22E-FBDD67D044DA}"/>
          </ac:spMkLst>
        </pc:spChg>
        <pc:spChg chg="mod">
          <ac:chgData name="mattia rodente" userId="8fa11c3836abf801" providerId="LiveId" clId="{FC0A5B9E-A933-42B1-819D-8B7A7CE0528E}" dt="2022-11-07T07:49:24.154" v="10"/>
          <ac:spMkLst>
            <pc:docMk/>
            <pc:sldMk cId="3580591941" sldId="13142"/>
            <ac:spMk id="84" creationId="{7617AD8C-C6B1-40C9-48F2-2D9A9EAEF0C6}"/>
          </ac:spMkLst>
        </pc:spChg>
        <pc:spChg chg="mod">
          <ac:chgData name="mattia rodente" userId="8fa11c3836abf801" providerId="LiveId" clId="{FC0A5B9E-A933-42B1-819D-8B7A7CE0528E}" dt="2022-11-07T07:49:24.154" v="10"/>
          <ac:spMkLst>
            <pc:docMk/>
            <pc:sldMk cId="3580591941" sldId="13142"/>
            <ac:spMk id="85" creationId="{8185AF08-50A4-499D-48B3-3270BA98D55B}"/>
          </ac:spMkLst>
        </pc:spChg>
        <pc:spChg chg="mod">
          <ac:chgData name="mattia rodente" userId="8fa11c3836abf801" providerId="LiveId" clId="{FC0A5B9E-A933-42B1-819D-8B7A7CE0528E}" dt="2022-11-07T07:49:24.154" v="10"/>
          <ac:spMkLst>
            <pc:docMk/>
            <pc:sldMk cId="3580591941" sldId="13142"/>
            <ac:spMk id="86" creationId="{D9EFB325-D75D-469B-F0D4-0EA6EAF38A96}"/>
          </ac:spMkLst>
        </pc:spChg>
        <pc:spChg chg="mod">
          <ac:chgData name="mattia rodente" userId="8fa11c3836abf801" providerId="LiveId" clId="{FC0A5B9E-A933-42B1-819D-8B7A7CE0528E}" dt="2022-11-07T07:49:24.154" v="10"/>
          <ac:spMkLst>
            <pc:docMk/>
            <pc:sldMk cId="3580591941" sldId="13142"/>
            <ac:spMk id="87" creationId="{A87827F0-0C60-6936-68B8-46EA1DBD59D8}"/>
          </ac:spMkLst>
        </pc:spChg>
        <pc:spChg chg="add mod">
          <ac:chgData name="mattia rodente" userId="8fa11c3836abf801" providerId="LiveId" clId="{FC0A5B9E-A933-42B1-819D-8B7A7CE0528E}" dt="2022-11-07T07:49:24.154" v="10"/>
          <ac:spMkLst>
            <pc:docMk/>
            <pc:sldMk cId="3580591941" sldId="13142"/>
            <ac:spMk id="88" creationId="{46DE596F-B1CA-AA55-C7E5-780819D994C1}"/>
          </ac:spMkLst>
        </pc:spChg>
        <pc:spChg chg="add mod">
          <ac:chgData name="mattia rodente" userId="8fa11c3836abf801" providerId="LiveId" clId="{FC0A5B9E-A933-42B1-819D-8B7A7CE0528E}" dt="2022-11-07T07:49:24.154" v="10"/>
          <ac:spMkLst>
            <pc:docMk/>
            <pc:sldMk cId="3580591941" sldId="13142"/>
            <ac:spMk id="89" creationId="{BF3C7C23-ADFB-74E3-1D74-29F8CD0CEC26}"/>
          </ac:spMkLst>
        </pc:spChg>
        <pc:spChg chg="add mod">
          <ac:chgData name="mattia rodente" userId="8fa11c3836abf801" providerId="LiveId" clId="{FC0A5B9E-A933-42B1-819D-8B7A7CE0528E}" dt="2022-11-07T08:08:28.322" v="122" actId="20577"/>
          <ac:spMkLst>
            <pc:docMk/>
            <pc:sldMk cId="3580591941" sldId="13142"/>
            <ac:spMk id="90" creationId="{EE8E8AE4-CDE1-0D7F-76E9-A30F9933C1AB}"/>
          </ac:spMkLst>
        </pc:spChg>
        <pc:spChg chg="add mod">
          <ac:chgData name="mattia rodente" userId="8fa11c3836abf801" providerId="LiveId" clId="{FC0A5B9E-A933-42B1-819D-8B7A7CE0528E}" dt="2022-11-07T08:08:32.820" v="125" actId="20577"/>
          <ac:spMkLst>
            <pc:docMk/>
            <pc:sldMk cId="3580591941" sldId="13142"/>
            <ac:spMk id="91" creationId="{F93EF1AA-0610-2DBA-A9E4-9AE21CDDE9B3}"/>
          </ac:spMkLst>
        </pc:spChg>
        <pc:spChg chg="add mod">
          <ac:chgData name="mattia rodente" userId="8fa11c3836abf801" providerId="LiveId" clId="{FC0A5B9E-A933-42B1-819D-8B7A7CE0528E}" dt="2022-11-07T07:49:24.154" v="10"/>
          <ac:spMkLst>
            <pc:docMk/>
            <pc:sldMk cId="3580591941" sldId="13142"/>
            <ac:spMk id="92" creationId="{39E6F141-3C76-EA9E-CCDF-4F5450E53F3F}"/>
          </ac:spMkLst>
        </pc:spChg>
        <pc:spChg chg="add mod">
          <ac:chgData name="mattia rodente" userId="8fa11c3836abf801" providerId="LiveId" clId="{FC0A5B9E-A933-42B1-819D-8B7A7CE0528E}" dt="2022-11-07T07:49:24.154" v="10"/>
          <ac:spMkLst>
            <pc:docMk/>
            <pc:sldMk cId="3580591941" sldId="13142"/>
            <ac:spMk id="93" creationId="{4BB6A2AE-4921-63AB-F537-20B277FB078D}"/>
          </ac:spMkLst>
        </pc:spChg>
        <pc:spChg chg="add mod">
          <ac:chgData name="mattia rodente" userId="8fa11c3836abf801" providerId="LiveId" clId="{FC0A5B9E-A933-42B1-819D-8B7A7CE0528E}" dt="2022-11-07T07:49:24.154" v="10"/>
          <ac:spMkLst>
            <pc:docMk/>
            <pc:sldMk cId="3580591941" sldId="13142"/>
            <ac:spMk id="94" creationId="{504F9EFB-F28C-F5E7-6FE0-67BD77B6E991}"/>
          </ac:spMkLst>
        </pc:spChg>
        <pc:spChg chg="add mod">
          <ac:chgData name="mattia rodente" userId="8fa11c3836abf801" providerId="LiveId" clId="{FC0A5B9E-A933-42B1-819D-8B7A7CE0528E}" dt="2022-11-07T07:49:24.154" v="10"/>
          <ac:spMkLst>
            <pc:docMk/>
            <pc:sldMk cId="3580591941" sldId="13142"/>
            <ac:spMk id="95" creationId="{9AC55A0B-817A-F520-34B2-4B2953B644C2}"/>
          </ac:spMkLst>
        </pc:spChg>
        <pc:spChg chg="add mod">
          <ac:chgData name="mattia rodente" userId="8fa11c3836abf801" providerId="LiveId" clId="{FC0A5B9E-A933-42B1-819D-8B7A7CE0528E}" dt="2022-11-07T08:08:36.979" v="127" actId="20577"/>
          <ac:spMkLst>
            <pc:docMk/>
            <pc:sldMk cId="3580591941" sldId="13142"/>
            <ac:spMk id="96" creationId="{B03AC019-2CBC-32B9-FD3B-FD7634A3EDD8}"/>
          </ac:spMkLst>
        </pc:spChg>
        <pc:spChg chg="add mod">
          <ac:chgData name="mattia rodente" userId="8fa11c3836abf801" providerId="LiveId" clId="{FC0A5B9E-A933-42B1-819D-8B7A7CE0528E}" dt="2022-11-07T07:49:24.154" v="10"/>
          <ac:spMkLst>
            <pc:docMk/>
            <pc:sldMk cId="3580591941" sldId="13142"/>
            <ac:spMk id="97" creationId="{89289174-501A-151C-CC7C-17E5522D8A44}"/>
          </ac:spMkLst>
        </pc:spChg>
        <pc:spChg chg="add mod">
          <ac:chgData name="mattia rodente" userId="8fa11c3836abf801" providerId="LiveId" clId="{FC0A5B9E-A933-42B1-819D-8B7A7CE0528E}" dt="2022-11-07T07:49:24.154" v="10"/>
          <ac:spMkLst>
            <pc:docMk/>
            <pc:sldMk cId="3580591941" sldId="13142"/>
            <ac:spMk id="98" creationId="{0022741E-6872-692F-DBF8-0B36632DB716}"/>
          </ac:spMkLst>
        </pc:spChg>
        <pc:spChg chg="add mod">
          <ac:chgData name="mattia rodente" userId="8fa11c3836abf801" providerId="LiveId" clId="{FC0A5B9E-A933-42B1-819D-8B7A7CE0528E}" dt="2022-11-07T08:08:16.644" v="120" actId="20577"/>
          <ac:spMkLst>
            <pc:docMk/>
            <pc:sldMk cId="3580591941" sldId="13142"/>
            <ac:spMk id="99" creationId="{EEA44668-AD09-2823-7302-F7A5DE443A94}"/>
          </ac:spMkLst>
        </pc:spChg>
        <pc:grpChg chg="del">
          <ac:chgData name="mattia rodente" userId="8fa11c3836abf801" providerId="LiveId" clId="{FC0A5B9E-A933-42B1-819D-8B7A7CE0528E}" dt="2022-11-07T07:49:22.259" v="9" actId="478"/>
          <ac:grpSpMkLst>
            <pc:docMk/>
            <pc:sldMk cId="3580591941" sldId="13142"/>
            <ac:grpSpMk id="2" creationId="{337186AC-717B-7F27-6187-C44A72BC541C}"/>
          </ac:grpSpMkLst>
        </pc:grpChg>
        <pc:grpChg chg="del">
          <ac:chgData name="mattia rodente" userId="8fa11c3836abf801" providerId="LiveId" clId="{FC0A5B9E-A933-42B1-819D-8B7A7CE0528E}" dt="2022-11-07T07:49:22.259" v="9" actId="478"/>
          <ac:grpSpMkLst>
            <pc:docMk/>
            <pc:sldMk cId="3580591941" sldId="13142"/>
            <ac:grpSpMk id="14" creationId="{C8EC2ED1-D12C-346B-AFB4-B90EDECA0EFE}"/>
          </ac:grpSpMkLst>
        </pc:grpChg>
        <pc:grpChg chg="add mod">
          <ac:chgData name="mattia rodente" userId="8fa11c3836abf801" providerId="LiveId" clId="{FC0A5B9E-A933-42B1-819D-8B7A7CE0528E}" dt="2022-11-07T07:49:24.154" v="10"/>
          <ac:grpSpMkLst>
            <pc:docMk/>
            <pc:sldMk cId="3580591941" sldId="13142"/>
            <ac:grpSpMk id="81" creationId="{4DB9B640-A280-86A6-3DB7-ACC619EB23C4}"/>
          </ac:grpSpMkLst>
        </pc:grpChg>
      </pc:sldChg>
      <pc:sldChg chg="delSp add mod">
        <pc:chgData name="mattia rodente" userId="8fa11c3836abf801" providerId="LiveId" clId="{FC0A5B9E-A933-42B1-819D-8B7A7CE0528E}" dt="2022-11-07T08:22:50.221" v="134" actId="478"/>
        <pc:sldMkLst>
          <pc:docMk/>
          <pc:sldMk cId="3583133740" sldId="13143"/>
        </pc:sldMkLst>
        <pc:spChg chg="del">
          <ac:chgData name="mattia rodente" userId="8fa11c3836abf801" providerId="LiveId" clId="{FC0A5B9E-A933-42B1-819D-8B7A7CE0528E}" dt="2022-11-07T08:22:50.221" v="134" actId="478"/>
          <ac:spMkLst>
            <pc:docMk/>
            <pc:sldMk cId="3583133740" sldId="13143"/>
            <ac:spMk id="12" creationId="{D4484013-9A96-5646-9750-8D5D99FC77EF}"/>
          </ac:spMkLst>
        </pc:spChg>
        <pc:picChg chg="del">
          <ac:chgData name="mattia rodente" userId="8fa11c3836abf801" providerId="LiveId" clId="{FC0A5B9E-A933-42B1-819D-8B7A7CE0528E}" dt="2022-11-07T08:22:50.221" v="134" actId="478"/>
          <ac:picMkLst>
            <pc:docMk/>
            <pc:sldMk cId="3583133740" sldId="13143"/>
            <ac:picMk id="8" creationId="{850870B5-E9FD-C145-8CFC-2F605DC137A7}"/>
          </ac:picMkLst>
        </pc:picChg>
        <pc:picChg chg="del">
          <ac:chgData name="mattia rodente" userId="8fa11c3836abf801" providerId="LiveId" clId="{FC0A5B9E-A933-42B1-819D-8B7A7CE0528E}" dt="2022-11-07T08:22:50.221" v="134" actId="478"/>
          <ac:picMkLst>
            <pc:docMk/>
            <pc:sldMk cId="3583133740" sldId="13143"/>
            <ac:picMk id="13" creationId="{ED732FA6-2D4F-4781-8EF9-922738124D29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DAFE1F-B0A0-49BD-8940-376DB143FE0C}" type="datetimeFigureOut">
              <a:rPr lang="it-IT" smtClean="0"/>
              <a:t>07/11/2022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36B7A2-0D08-4303-8956-FAA2506D382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864583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CE4A6B-61D9-4032-BE53-6ACE1AE11D99}" type="slidenum">
              <a:rPr lang="it-IT" smtClean="0"/>
              <a:t>1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1563493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EB044D-DD7D-404A-9AE4-0D5D3AA0A85D}" type="slidenum">
              <a:rPr lang="it-IT" smtClean="0"/>
              <a:t>2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8686031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EB044D-DD7D-404A-9AE4-0D5D3AA0A85D}" type="slidenum">
              <a:rPr lang="it-IT" smtClean="0"/>
              <a:t>7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655982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EB044D-DD7D-404A-9AE4-0D5D3AA0A85D}" type="slidenum">
              <a:rPr lang="it-IT" smtClean="0"/>
              <a:t>10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7059088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EB044D-DD7D-404A-9AE4-0D5D3AA0A85D}" type="slidenum">
              <a:rPr lang="it-IT" smtClean="0"/>
              <a:t>15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9713298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3141233-1A5A-A003-442D-ABECBEF53A0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67163464-F112-8677-AE98-CD8D9F0C6EB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7B6C8187-5FCA-5D20-56BE-E6744E7AC8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364B8-4C07-4814-B002-99E1C26F0A0F}" type="datetimeFigureOut">
              <a:rPr lang="it-IT" smtClean="0"/>
              <a:t>07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E1556C6C-4A67-6120-149D-752E52B16B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F0907F7C-2A97-0CB6-79BB-96A616EF6F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DF9E21-C211-4741-8E86-06C728EB64D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668013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791D1F3-9676-D431-8FD6-7AB2FAEA79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40AD4B07-AC89-7E30-6DEF-9ED199FA678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2FBA9C90-6A06-2E81-3391-DA7E676786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364B8-4C07-4814-B002-99E1C26F0A0F}" type="datetimeFigureOut">
              <a:rPr lang="it-IT" smtClean="0"/>
              <a:t>07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85036D58-E586-FCB5-2FA4-F08C5557B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D23C830-1042-0A66-7FE6-0E1CAD9686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DF9E21-C211-4741-8E86-06C728EB64D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010868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AB102C45-7916-DB7C-3692-1088261B050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AEE336AA-FD02-101A-2ECC-09B045AB28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B938AA66-A6D8-1B03-C984-12986FE11B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364B8-4C07-4814-B002-99E1C26F0A0F}" type="datetimeFigureOut">
              <a:rPr lang="it-IT" smtClean="0"/>
              <a:t>07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C1CEA24-0A16-AF92-FA3D-FDC0A829A8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3DB18FC0-F567-6A6C-B40A-D916B2CAA8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DF9E21-C211-4741-8E86-06C728EB64D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794451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ntestazione sezion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egnaposto numero diapositiva 5"/>
          <p:cNvSpPr txBox="1">
            <a:spLocks/>
          </p:cNvSpPr>
          <p:nvPr userDrawn="1"/>
        </p:nvSpPr>
        <p:spPr>
          <a:xfrm>
            <a:off x="8922" y="6499702"/>
            <a:ext cx="883232" cy="351609"/>
          </a:xfrm>
          <a:prstGeom prst="rect">
            <a:avLst/>
          </a:prstGeom>
        </p:spPr>
        <p:txBody>
          <a:bodyPr vert="horz" lIns="91408" tIns="45704" rIns="91408" bIns="45704" rtlCol="0" anchor="ctr"/>
          <a:lstStyle/>
          <a:p>
            <a:pPr marL="0" marR="0" lvl="0" indent="0" algn="ctr" defTabSz="10426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AE3143-18FC-45D0-BCA5-C857ED9F7F34}" type="slidenum">
              <a:rPr kumimoji="0" lang="it-IT" sz="800" b="0" i="0" u="none" strike="noStrike" kern="0" cap="none" spc="0" normalizeH="0" baseline="0" noProof="0">
                <a:ln>
                  <a:noFill/>
                </a:ln>
                <a:solidFill>
                  <a:srgbClr val="00609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10426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it-IT" sz="800" b="0" i="0" u="none" strike="noStrike" kern="0" cap="none" spc="0" normalizeH="0" baseline="0" noProof="0" dirty="0">
              <a:ln>
                <a:noFill/>
              </a:ln>
              <a:solidFill>
                <a:srgbClr val="00609D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018659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>
            <a:extLst>
              <a:ext uri="{FF2B5EF4-FFF2-40B4-BE49-F238E27FC236}">
                <a16:creationId xmlns:a16="http://schemas.microsoft.com/office/drawing/2014/main" id="{228FE708-7971-3748-BA92-4BADE852B0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ttangolo 10">
            <a:extLst>
              <a:ext uri="{FF2B5EF4-FFF2-40B4-BE49-F238E27FC236}">
                <a16:creationId xmlns:a16="http://schemas.microsoft.com/office/drawing/2014/main" id="{36116B71-1343-B840-A725-6BD7586D63F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64334"/>
                  <a:lumOff val="35666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800" dirty="0"/>
          </a:p>
        </p:txBody>
      </p:sp>
      <p:sp>
        <p:nvSpPr>
          <p:cNvPr id="10" name="Titolo 1">
            <a:extLst>
              <a:ext uri="{FF2B5EF4-FFF2-40B4-BE49-F238E27FC236}">
                <a16:creationId xmlns:a16="http://schemas.microsoft.com/office/drawing/2014/main" id="{7E6B44D0-239C-014C-A855-2919CA8CE2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0317" y="3139382"/>
            <a:ext cx="8664314" cy="579236"/>
          </a:xfrm>
          <a:prstGeom prst="rect">
            <a:avLst/>
          </a:prstGeom>
        </p:spPr>
        <p:txBody>
          <a:bodyPr/>
          <a:lstStyle>
            <a:lvl1pPr>
              <a:defRPr sz="2800" b="0">
                <a:solidFill>
                  <a:srgbClr val="003060"/>
                </a:solidFill>
                <a:latin typeface="+mn-lt"/>
              </a:defRPr>
            </a:lvl1pPr>
          </a:lstStyle>
          <a:p>
            <a:r>
              <a:rPr lang="it-IT" dirty="0"/>
              <a:t>Fare clic per modificare lo stile del titol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7188786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C6F9FD9-62D4-15FE-9AB3-8C381381D3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F6DA3529-4640-A6CD-9DD8-DC54B85D7D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4C3F5C6B-5098-9720-57FD-5B9130FA82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364B8-4C07-4814-B002-99E1C26F0A0F}" type="datetimeFigureOut">
              <a:rPr lang="it-IT" smtClean="0"/>
              <a:t>07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CDC0515F-1D29-BD84-CA1A-DFDFDA5DC6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766E45BE-2CA0-3AA6-B24F-DADC575AD1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DF9E21-C211-4741-8E86-06C728EB64D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988505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6DDDACC-ED83-FAC4-C972-6AE4D206C5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67C2E8E2-E108-1E86-3CCE-248D25601A3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782C4C15-FBDB-C884-DA31-34CFA879EB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364B8-4C07-4814-B002-99E1C26F0A0F}" type="datetimeFigureOut">
              <a:rPr lang="it-IT" smtClean="0"/>
              <a:t>07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6CB104A-E74A-3408-179B-21F7C530A1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F58CDD81-D3CD-2DBA-BEDA-908D6EFE5B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DF9E21-C211-4741-8E86-06C728EB64D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6949793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96D3CD6A-9D6E-D8DA-3E6F-27E6C72D35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07F54E61-8742-B6F6-4048-C9303F1777F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06F3F1C0-3E95-A1E1-CAB7-614884F21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F0F334E3-D482-E7FB-CCEF-512654D1A0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364B8-4C07-4814-B002-99E1C26F0A0F}" type="datetimeFigureOut">
              <a:rPr lang="it-IT" smtClean="0"/>
              <a:t>07/11/2022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60DD59A1-478C-D11C-4A66-08CDFAB7A6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2C553A7E-CA3C-A35F-681E-C2A0DBFCD6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DF9E21-C211-4741-8E86-06C728EB64D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704488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27BEBA2-5F63-F8BF-386E-A36CC3DF7E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E0DCBA1D-6BFA-3D7D-7A8B-D5429D2AB2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1AEDC155-099F-63AD-C896-0E0F4A7213A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438863E3-73FB-BD0F-3C44-07D22CA84A3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79657A00-4B5C-CDAC-73E2-57E2D327972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57B2E0EB-CA0D-890F-2FFC-73F0DD4A00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364B8-4C07-4814-B002-99E1C26F0A0F}" type="datetimeFigureOut">
              <a:rPr lang="it-IT" smtClean="0"/>
              <a:t>07/11/2022</a:t>
            </a:fld>
            <a:endParaRPr lang="it-IT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4E797773-9EF5-0FA0-3D82-D7CCA51EB8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DF7378C1-E381-05E3-3E1D-06B33698A3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DF9E21-C211-4741-8E86-06C728EB64D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769473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9DB1295-735A-CC84-9569-164AE58276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48B5DA45-1C9D-1062-0D35-A66F0347DF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364B8-4C07-4814-B002-99E1C26F0A0F}" type="datetimeFigureOut">
              <a:rPr lang="it-IT" smtClean="0"/>
              <a:t>07/11/2022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19973505-6D82-718F-FDE3-FF85085203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1C460890-7025-CC70-AEDD-4DAF5E056F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DF9E21-C211-4741-8E86-06C728EB64D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651284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A53704B6-EEBB-1224-7CBD-0D32AD5464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364B8-4C07-4814-B002-99E1C26F0A0F}" type="datetimeFigureOut">
              <a:rPr lang="it-IT" smtClean="0"/>
              <a:t>07/11/2022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4AAD4153-8B53-DC36-0D75-E52ED80FC9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37830553-70F2-9754-64F8-72F535FBAB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DF9E21-C211-4741-8E86-06C728EB64D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466430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731429A-8A1B-A259-ED59-0DF3B85C38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9F1F2751-9713-A7D0-B2C7-79566BE495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3E886640-E650-92A1-C70D-E8403EAEFA5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E9C2A0CE-66BF-127C-3243-62EFEC4B91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364B8-4C07-4814-B002-99E1C26F0A0F}" type="datetimeFigureOut">
              <a:rPr lang="it-IT" smtClean="0"/>
              <a:t>07/11/2022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9FC325EA-44AD-2AB5-BF56-A5F466486C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E6283DE9-66F0-3513-493F-2EF4576739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DF9E21-C211-4741-8E86-06C728EB64D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42330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AC29712-22A6-5A44-7EF0-45448F6BF3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89310D04-3056-95CB-E651-B12A812C494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95753FDA-EFD4-3EC3-4E4C-A21428F8F11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2C62ED24-33E1-CFA0-0472-2E0B4D852C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3364B8-4C07-4814-B002-99E1C26F0A0F}" type="datetimeFigureOut">
              <a:rPr lang="it-IT" smtClean="0"/>
              <a:t>07/11/2022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EF4275FF-AC86-90EE-CEDC-2496C61374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0008E590-EA75-D796-193A-250EBD66EB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DF9E21-C211-4741-8E86-06C728EB64D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969033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6E006D04-6947-49EE-AE10-941E002891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E47618C2-822D-2545-4AC9-774E59F146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32C1D5DE-1BBA-DBBE-D973-A22FFC0CB6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D3364B8-4C07-4814-B002-99E1C26F0A0F}" type="datetimeFigureOut">
              <a:rPr lang="it-IT" smtClean="0"/>
              <a:t>07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1FE9D79A-0606-2AAA-10F2-7FDED17621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16FCD15-7DC4-E743-C97A-20AA2106EC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DF9E21-C211-4741-8E86-06C728EB64D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824680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image" Target="../media/image55.svg"/><Relationship Id="rId7" Type="http://schemas.openxmlformats.org/officeDocument/2006/relationships/image" Target="../media/image59.sv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8.png"/><Relationship Id="rId11" Type="http://schemas.openxmlformats.org/officeDocument/2006/relationships/image" Target="../media/image63.svg"/><Relationship Id="rId5" Type="http://schemas.openxmlformats.org/officeDocument/2006/relationships/image" Target="../media/image57.svg"/><Relationship Id="rId10" Type="http://schemas.openxmlformats.org/officeDocument/2006/relationships/image" Target="../media/image62.png"/><Relationship Id="rId4" Type="http://schemas.openxmlformats.org/officeDocument/2006/relationships/image" Target="../media/image56.png"/><Relationship Id="rId9" Type="http://schemas.openxmlformats.org/officeDocument/2006/relationships/image" Target="../media/image61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8.jpg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image" Target="../media/image72.png"/><Relationship Id="rId18" Type="http://schemas.openxmlformats.org/officeDocument/2006/relationships/image" Target="../media/image77.svg"/><Relationship Id="rId3" Type="http://schemas.openxmlformats.org/officeDocument/2006/relationships/tags" Target="../tags/tag19.xml"/><Relationship Id="rId21" Type="http://schemas.openxmlformats.org/officeDocument/2006/relationships/image" Target="../media/image80.png"/><Relationship Id="rId7" Type="http://schemas.openxmlformats.org/officeDocument/2006/relationships/tags" Target="../tags/tag23.xml"/><Relationship Id="rId12" Type="http://schemas.openxmlformats.org/officeDocument/2006/relationships/image" Target="../media/image71.png"/><Relationship Id="rId17" Type="http://schemas.openxmlformats.org/officeDocument/2006/relationships/image" Target="../media/image76.png"/><Relationship Id="rId2" Type="http://schemas.openxmlformats.org/officeDocument/2006/relationships/tags" Target="../tags/tag18.xml"/><Relationship Id="rId16" Type="http://schemas.openxmlformats.org/officeDocument/2006/relationships/image" Target="../media/image75.svg"/><Relationship Id="rId20" Type="http://schemas.openxmlformats.org/officeDocument/2006/relationships/image" Target="../media/image79.svg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11" Type="http://schemas.openxmlformats.org/officeDocument/2006/relationships/image" Target="../media/image70.png"/><Relationship Id="rId5" Type="http://schemas.openxmlformats.org/officeDocument/2006/relationships/tags" Target="../tags/tag21.xml"/><Relationship Id="rId15" Type="http://schemas.openxmlformats.org/officeDocument/2006/relationships/image" Target="../media/image74.png"/><Relationship Id="rId10" Type="http://schemas.openxmlformats.org/officeDocument/2006/relationships/image" Target="../media/image69.png"/><Relationship Id="rId19" Type="http://schemas.openxmlformats.org/officeDocument/2006/relationships/image" Target="../media/image78.png"/><Relationship Id="rId4" Type="http://schemas.openxmlformats.org/officeDocument/2006/relationships/tags" Target="../tags/tag20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73.svg"/><Relationship Id="rId22" Type="http://schemas.openxmlformats.org/officeDocument/2006/relationships/image" Target="../media/image81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4.png"/><Relationship Id="rId4" Type="http://schemas.openxmlformats.org/officeDocument/2006/relationships/image" Target="../media/image70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4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8.png"/><Relationship Id="rId18" Type="http://schemas.openxmlformats.org/officeDocument/2006/relationships/image" Target="../media/image23.jpeg"/><Relationship Id="rId26" Type="http://schemas.openxmlformats.org/officeDocument/2006/relationships/image" Target="../media/image31.jpeg"/><Relationship Id="rId39" Type="http://schemas.openxmlformats.org/officeDocument/2006/relationships/image" Target="../media/image44.gif"/><Relationship Id="rId21" Type="http://schemas.openxmlformats.org/officeDocument/2006/relationships/image" Target="../media/image26.png"/><Relationship Id="rId34" Type="http://schemas.openxmlformats.org/officeDocument/2006/relationships/image" Target="../media/image39.png"/><Relationship Id="rId42" Type="http://schemas.openxmlformats.org/officeDocument/2006/relationships/image" Target="../media/image47.jpeg"/><Relationship Id="rId47" Type="http://schemas.openxmlformats.org/officeDocument/2006/relationships/image" Target="../media/image52.jpeg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9.xml"/><Relationship Id="rId16" Type="http://schemas.openxmlformats.org/officeDocument/2006/relationships/image" Target="../media/image21.svg"/><Relationship Id="rId29" Type="http://schemas.openxmlformats.org/officeDocument/2006/relationships/image" Target="../media/image34.png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image" Target="../media/image16.png"/><Relationship Id="rId24" Type="http://schemas.openxmlformats.org/officeDocument/2006/relationships/image" Target="../media/image29.jpeg"/><Relationship Id="rId32" Type="http://schemas.openxmlformats.org/officeDocument/2006/relationships/image" Target="../media/image37.gif"/><Relationship Id="rId37" Type="http://schemas.openxmlformats.org/officeDocument/2006/relationships/image" Target="../media/image42.png"/><Relationship Id="rId40" Type="http://schemas.openxmlformats.org/officeDocument/2006/relationships/image" Target="../media/image45.png"/><Relationship Id="rId45" Type="http://schemas.openxmlformats.org/officeDocument/2006/relationships/image" Target="../media/image50.png"/><Relationship Id="rId5" Type="http://schemas.openxmlformats.org/officeDocument/2006/relationships/tags" Target="../tags/tag12.xml"/><Relationship Id="rId15" Type="http://schemas.openxmlformats.org/officeDocument/2006/relationships/image" Target="../media/image20.png"/><Relationship Id="rId23" Type="http://schemas.openxmlformats.org/officeDocument/2006/relationships/image" Target="../media/image28.jpeg"/><Relationship Id="rId28" Type="http://schemas.openxmlformats.org/officeDocument/2006/relationships/image" Target="../media/image33.png"/><Relationship Id="rId36" Type="http://schemas.openxmlformats.org/officeDocument/2006/relationships/image" Target="../media/image41.png"/><Relationship Id="rId10" Type="http://schemas.openxmlformats.org/officeDocument/2006/relationships/image" Target="../media/image15.png"/><Relationship Id="rId19" Type="http://schemas.openxmlformats.org/officeDocument/2006/relationships/image" Target="../media/image24.jpeg"/><Relationship Id="rId31" Type="http://schemas.openxmlformats.org/officeDocument/2006/relationships/image" Target="../media/image36.png"/><Relationship Id="rId44" Type="http://schemas.openxmlformats.org/officeDocument/2006/relationships/image" Target="../media/image49.png"/><Relationship Id="rId4" Type="http://schemas.openxmlformats.org/officeDocument/2006/relationships/tags" Target="../tags/tag11.xml"/><Relationship Id="rId9" Type="http://schemas.openxmlformats.org/officeDocument/2006/relationships/image" Target="../media/image14.jpeg"/><Relationship Id="rId14" Type="http://schemas.openxmlformats.org/officeDocument/2006/relationships/image" Target="../media/image19.svg"/><Relationship Id="rId22" Type="http://schemas.openxmlformats.org/officeDocument/2006/relationships/image" Target="../media/image27.png"/><Relationship Id="rId27" Type="http://schemas.openxmlformats.org/officeDocument/2006/relationships/image" Target="../media/image32.jpeg"/><Relationship Id="rId30" Type="http://schemas.openxmlformats.org/officeDocument/2006/relationships/image" Target="../media/image35.jpeg"/><Relationship Id="rId35" Type="http://schemas.openxmlformats.org/officeDocument/2006/relationships/image" Target="../media/image40.png"/><Relationship Id="rId43" Type="http://schemas.openxmlformats.org/officeDocument/2006/relationships/image" Target="../media/image48.jpeg"/><Relationship Id="rId48" Type="http://schemas.openxmlformats.org/officeDocument/2006/relationships/image" Target="../media/image53.png"/><Relationship Id="rId8" Type="http://schemas.openxmlformats.org/officeDocument/2006/relationships/image" Target="../media/image13.png"/><Relationship Id="rId3" Type="http://schemas.openxmlformats.org/officeDocument/2006/relationships/tags" Target="../tags/tag10.xml"/><Relationship Id="rId12" Type="http://schemas.openxmlformats.org/officeDocument/2006/relationships/image" Target="../media/image17.svg"/><Relationship Id="rId17" Type="http://schemas.openxmlformats.org/officeDocument/2006/relationships/image" Target="../media/image22.png"/><Relationship Id="rId25" Type="http://schemas.openxmlformats.org/officeDocument/2006/relationships/image" Target="../media/image30.jpeg"/><Relationship Id="rId33" Type="http://schemas.openxmlformats.org/officeDocument/2006/relationships/image" Target="../media/image38.png"/><Relationship Id="rId38" Type="http://schemas.openxmlformats.org/officeDocument/2006/relationships/image" Target="../media/image43.png"/><Relationship Id="rId46" Type="http://schemas.openxmlformats.org/officeDocument/2006/relationships/image" Target="../media/image51.jpeg"/><Relationship Id="rId20" Type="http://schemas.openxmlformats.org/officeDocument/2006/relationships/image" Target="../media/image25.png"/><Relationship Id="rId41" Type="http://schemas.openxmlformats.org/officeDocument/2006/relationships/image" Target="../media/image4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4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>
            <a:extLst>
              <a:ext uri="{FF2B5EF4-FFF2-40B4-BE49-F238E27FC236}">
                <a16:creationId xmlns:a16="http://schemas.microsoft.com/office/drawing/2014/main" id="{644BD3E2-B360-FF44-986F-73316CB1AEF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0" y="-7679"/>
            <a:ext cx="12192000" cy="6865679"/>
          </a:xfrm>
          <a:prstGeom prst="rect">
            <a:avLst/>
          </a:prstGeom>
        </p:spPr>
      </p:pic>
      <p:cxnSp>
        <p:nvCxnSpPr>
          <p:cNvPr id="10" name="Connettore 1 9">
            <a:extLst>
              <a:ext uri="{FF2B5EF4-FFF2-40B4-BE49-F238E27FC236}">
                <a16:creationId xmlns:a16="http://schemas.microsoft.com/office/drawing/2014/main" id="{9A4DB9AB-CF3A-1A40-9A66-36714EF460FE}"/>
              </a:ext>
            </a:extLst>
          </p:cNvPr>
          <p:cNvCxnSpPr>
            <a:cxnSpLocks/>
          </p:cNvCxnSpPr>
          <p:nvPr/>
        </p:nvCxnSpPr>
        <p:spPr>
          <a:xfrm>
            <a:off x="858186" y="3345359"/>
            <a:ext cx="730800" cy="0"/>
          </a:xfrm>
          <a:prstGeom prst="line">
            <a:avLst/>
          </a:prstGeom>
          <a:ln w="1143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ottotitolo 5">
            <a:extLst>
              <a:ext uri="{FF2B5EF4-FFF2-40B4-BE49-F238E27FC236}">
                <a16:creationId xmlns:a16="http://schemas.microsoft.com/office/drawing/2014/main" id="{4630D812-CE0B-4F23-8876-BE72EAC73D26}"/>
              </a:ext>
            </a:extLst>
          </p:cNvPr>
          <p:cNvSpPr txBox="1">
            <a:spLocks/>
          </p:cNvSpPr>
          <p:nvPr/>
        </p:nvSpPr>
        <p:spPr>
          <a:xfrm>
            <a:off x="765111" y="3529450"/>
            <a:ext cx="6448490" cy="145846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3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DEIUSSIONI DIGITALI</a:t>
            </a:r>
          </a:p>
          <a:p>
            <a:pPr marL="0" indent="0">
              <a:buNone/>
            </a:pPr>
            <a:r>
              <a:rPr lang="it-IT"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digitalizzazione delle fideiussioni su DLT/blockchain</a:t>
            </a:r>
            <a:endParaRPr lang="it-IT" sz="3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31337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tangolo 14">
            <a:extLst>
              <a:ext uri="{FF2B5EF4-FFF2-40B4-BE49-F238E27FC236}">
                <a16:creationId xmlns:a16="http://schemas.microsoft.com/office/drawing/2014/main" id="{29A0B37B-0ED8-4A7B-890A-CD7040B1CE36}"/>
              </a:ext>
            </a:extLst>
          </p:cNvPr>
          <p:cNvSpPr/>
          <p:nvPr/>
        </p:nvSpPr>
        <p:spPr>
          <a:xfrm>
            <a:off x="712467" y="3838083"/>
            <a:ext cx="6522424" cy="513450"/>
          </a:xfrm>
          <a:prstGeom prst="rect">
            <a:avLst/>
          </a:prstGeom>
          <a:solidFill>
            <a:srgbClr val="003057"/>
          </a:solidFill>
          <a:ln w="19050">
            <a:solidFill>
              <a:srgbClr val="003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7B13179C-8F3A-BF44-862E-C13FD7E40330}"/>
              </a:ext>
            </a:extLst>
          </p:cNvPr>
          <p:cNvSpPr txBox="1"/>
          <p:nvPr/>
        </p:nvSpPr>
        <p:spPr>
          <a:xfrm>
            <a:off x="8060482" y="2956035"/>
            <a:ext cx="272382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5400" b="1" i="0" u="none" strike="noStrike" kern="1200" cap="none" spc="0" normalizeH="0" baseline="0" noProof="0" dirty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9362BCB6-333E-4B86-84C4-152299D19653}"/>
              </a:ext>
            </a:extLst>
          </p:cNvPr>
          <p:cNvSpPr txBox="1"/>
          <p:nvPr/>
        </p:nvSpPr>
        <p:spPr>
          <a:xfrm>
            <a:off x="712467" y="1200772"/>
            <a:ext cx="518263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200" dirty="0">
                <a:latin typeface="Arial" panose="020B0604020202020204" pitchFamily="34" charset="0"/>
                <a:cs typeface="Arial" panose="020B0604020202020204" pitchFamily="34" charset="0"/>
              </a:rPr>
              <a:t>L’esigenza di mercato</a:t>
            </a: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FC817143-5BEE-456D-B25E-E640A2695892}"/>
              </a:ext>
            </a:extLst>
          </p:cNvPr>
          <p:cNvSpPr txBox="1"/>
          <p:nvPr/>
        </p:nvSpPr>
        <p:spPr>
          <a:xfrm>
            <a:off x="712467" y="2495898"/>
            <a:ext cx="518263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200" dirty="0">
                <a:latin typeface="Arial" panose="020B0604020202020204" pitchFamily="34" charset="0"/>
                <a:cs typeface="Arial" panose="020B0604020202020204" pitchFamily="34" charset="0"/>
              </a:rPr>
              <a:t>La Sandbox</a:t>
            </a: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A0E92672-7087-41EE-B375-4F26ADF4E69A}"/>
              </a:ext>
            </a:extLst>
          </p:cNvPr>
          <p:cNvSpPr txBox="1"/>
          <p:nvPr/>
        </p:nvSpPr>
        <p:spPr>
          <a:xfrm>
            <a:off x="712467" y="3879365"/>
            <a:ext cx="574357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soluzione «Fideiussioni Digitali» </a:t>
            </a:r>
          </a:p>
        </p:txBody>
      </p:sp>
      <p:sp>
        <p:nvSpPr>
          <p:cNvPr id="18" name="CasellaDiTesto 17">
            <a:extLst>
              <a:ext uri="{FF2B5EF4-FFF2-40B4-BE49-F238E27FC236}">
                <a16:creationId xmlns:a16="http://schemas.microsoft.com/office/drawing/2014/main" id="{7840DC34-0584-48D1-9685-81B0F26402B6}"/>
              </a:ext>
            </a:extLst>
          </p:cNvPr>
          <p:cNvSpPr txBox="1"/>
          <p:nvPr/>
        </p:nvSpPr>
        <p:spPr>
          <a:xfrm>
            <a:off x="712467" y="5274957"/>
            <a:ext cx="518263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200" dirty="0">
                <a:latin typeface="Arial" panose="020B0604020202020204" pitchFamily="34" charset="0"/>
                <a:cs typeface="Arial" panose="020B0604020202020204" pitchFamily="34" charset="0"/>
              </a:rPr>
              <a:t>Prossimi passi</a:t>
            </a:r>
          </a:p>
        </p:txBody>
      </p:sp>
    </p:spTree>
    <p:extLst>
      <p:ext uri="{BB962C8B-B14F-4D97-AF65-F5344CB8AC3E}">
        <p14:creationId xmlns:p14="http://schemas.microsoft.com/office/powerpoint/2010/main" val="273405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Connettore diritto 1">
            <a:extLst>
              <a:ext uri="{FF2B5EF4-FFF2-40B4-BE49-F238E27FC236}">
                <a16:creationId xmlns:a16="http://schemas.microsoft.com/office/drawing/2014/main" id="{473AC5A2-032C-D4D1-A3AE-727C8D4C3BA8}"/>
              </a:ext>
            </a:extLst>
          </p:cNvPr>
          <p:cNvCxnSpPr>
            <a:cxnSpLocks/>
            <a:stCxn id="12" idx="3"/>
            <a:endCxn id="15" idx="1"/>
          </p:cNvCxnSpPr>
          <p:nvPr/>
        </p:nvCxnSpPr>
        <p:spPr>
          <a:xfrm>
            <a:off x="4899703" y="1926908"/>
            <a:ext cx="803527" cy="562748"/>
          </a:xfrm>
          <a:prstGeom prst="line">
            <a:avLst/>
          </a:prstGeom>
          <a:ln w="19050">
            <a:solidFill>
              <a:srgbClr val="AA006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Connettore diritto 2">
            <a:extLst>
              <a:ext uri="{FF2B5EF4-FFF2-40B4-BE49-F238E27FC236}">
                <a16:creationId xmlns:a16="http://schemas.microsoft.com/office/drawing/2014/main" id="{3FE129FE-6C36-D740-4F55-8CE6FD1D1683}"/>
              </a:ext>
            </a:extLst>
          </p:cNvPr>
          <p:cNvCxnSpPr>
            <a:cxnSpLocks/>
            <a:stCxn id="13" idx="3"/>
            <a:endCxn id="15" idx="1"/>
          </p:cNvCxnSpPr>
          <p:nvPr/>
        </p:nvCxnSpPr>
        <p:spPr>
          <a:xfrm flipV="1">
            <a:off x="4873129" y="2489656"/>
            <a:ext cx="830101" cy="476670"/>
          </a:xfrm>
          <a:prstGeom prst="line">
            <a:avLst/>
          </a:prstGeom>
          <a:ln w="19050">
            <a:solidFill>
              <a:srgbClr val="A7BCD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ttangolo 3">
            <a:extLst>
              <a:ext uri="{FF2B5EF4-FFF2-40B4-BE49-F238E27FC236}">
                <a16:creationId xmlns:a16="http://schemas.microsoft.com/office/drawing/2014/main" id="{54F26C88-978B-2E74-2F5A-9BD35048C154}"/>
              </a:ext>
            </a:extLst>
          </p:cNvPr>
          <p:cNvSpPr/>
          <p:nvPr/>
        </p:nvSpPr>
        <p:spPr>
          <a:xfrm>
            <a:off x="1686560" y="3880387"/>
            <a:ext cx="8859519" cy="2479040"/>
          </a:xfrm>
          <a:prstGeom prst="rect">
            <a:avLst/>
          </a:prstGeom>
          <a:noFill/>
          <a:ln>
            <a:solidFill>
              <a:srgbClr val="C4D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5" name="Connettore diritto 4">
            <a:extLst>
              <a:ext uri="{FF2B5EF4-FFF2-40B4-BE49-F238E27FC236}">
                <a16:creationId xmlns:a16="http://schemas.microsoft.com/office/drawing/2014/main" id="{674CB544-509A-2210-A17B-64A596FCE99E}"/>
              </a:ext>
            </a:extLst>
          </p:cNvPr>
          <p:cNvCxnSpPr>
            <a:cxnSpLocks/>
            <a:stCxn id="15" idx="3"/>
            <a:endCxn id="10" idx="1"/>
          </p:cNvCxnSpPr>
          <p:nvPr/>
        </p:nvCxnSpPr>
        <p:spPr>
          <a:xfrm flipV="1">
            <a:off x="6617630" y="1954967"/>
            <a:ext cx="701242" cy="534689"/>
          </a:xfrm>
          <a:prstGeom prst="line">
            <a:avLst/>
          </a:prstGeom>
          <a:ln w="19050">
            <a:solidFill>
              <a:srgbClr val="4F868E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Connettore diritto 5">
            <a:extLst>
              <a:ext uri="{FF2B5EF4-FFF2-40B4-BE49-F238E27FC236}">
                <a16:creationId xmlns:a16="http://schemas.microsoft.com/office/drawing/2014/main" id="{4E3A41B2-AB28-3AEF-4184-D0667F939FE8}"/>
              </a:ext>
            </a:extLst>
          </p:cNvPr>
          <p:cNvCxnSpPr>
            <a:cxnSpLocks/>
            <a:stCxn id="15" idx="3"/>
            <a:endCxn id="11" idx="1"/>
          </p:cNvCxnSpPr>
          <p:nvPr/>
        </p:nvCxnSpPr>
        <p:spPr>
          <a:xfrm>
            <a:off x="6617630" y="2489656"/>
            <a:ext cx="701242" cy="476671"/>
          </a:xfrm>
          <a:prstGeom prst="line">
            <a:avLst/>
          </a:prstGeom>
          <a:ln w="19050">
            <a:solidFill>
              <a:srgbClr val="D7D2CB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olo 6">
            <a:extLst>
              <a:ext uri="{FF2B5EF4-FFF2-40B4-BE49-F238E27FC236}">
                <a16:creationId xmlns:a16="http://schemas.microsoft.com/office/drawing/2014/main" id="{0D0DF408-A468-89ED-CAE4-7733E1DF8923}"/>
              </a:ext>
            </a:extLst>
          </p:cNvPr>
          <p:cNvSpPr txBox="1">
            <a:spLocks/>
          </p:cNvSpPr>
          <p:nvPr/>
        </p:nvSpPr>
        <p:spPr>
          <a:xfrm>
            <a:off x="345439" y="358880"/>
            <a:ext cx="11453625" cy="9892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it-IT" sz="3000" b="1" dirty="0">
                <a:solidFill>
                  <a:srgbClr val="0030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piattaforma gestisce l’intero processo dalla creazione della pratica fideiussoria fino all’escussione</a:t>
            </a:r>
          </a:p>
        </p:txBody>
      </p:sp>
      <p:sp>
        <p:nvSpPr>
          <p:cNvPr id="8" name="Segnaposto numero diapositiva 5">
            <a:extLst>
              <a:ext uri="{FF2B5EF4-FFF2-40B4-BE49-F238E27FC236}">
                <a16:creationId xmlns:a16="http://schemas.microsoft.com/office/drawing/2014/main" id="{AFBDFC40-57D2-981B-5377-AB68AAE41E1A}"/>
              </a:ext>
            </a:extLst>
          </p:cNvPr>
          <p:cNvSpPr txBox="1">
            <a:spLocks/>
          </p:cNvSpPr>
          <p:nvPr/>
        </p:nvSpPr>
        <p:spPr>
          <a:xfrm>
            <a:off x="11374438" y="6315075"/>
            <a:ext cx="81756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t-IT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fld id="{B7C8ED99-00F4-7E4D-A2B9-6ECAF68FD4D2}" type="slidenum">
              <a:rPr lang="it-IT" sz="140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l">
                <a:defRPr/>
              </a:pPr>
              <a:t>11</a:t>
            </a:fld>
            <a:endParaRPr lang="it-IT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ttangolo con angoli arrotondati 8">
            <a:extLst>
              <a:ext uri="{FF2B5EF4-FFF2-40B4-BE49-F238E27FC236}">
                <a16:creationId xmlns:a16="http://schemas.microsoft.com/office/drawing/2014/main" id="{9085C6DB-30E3-DAA2-986D-9D0B078A2CCF}"/>
              </a:ext>
            </a:extLst>
          </p:cNvPr>
          <p:cNvSpPr/>
          <p:nvPr/>
        </p:nvSpPr>
        <p:spPr>
          <a:xfrm>
            <a:off x="3968798" y="3665457"/>
            <a:ext cx="4307641" cy="453244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C4D6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sso end-to-end full-digital</a:t>
            </a:r>
          </a:p>
        </p:txBody>
      </p:sp>
      <p:sp>
        <p:nvSpPr>
          <p:cNvPr id="10" name="Rettangolo con angoli arrotondati 9">
            <a:extLst>
              <a:ext uri="{FF2B5EF4-FFF2-40B4-BE49-F238E27FC236}">
                <a16:creationId xmlns:a16="http://schemas.microsoft.com/office/drawing/2014/main" id="{5FAE1104-BAB4-5430-8FA2-D84DA2C3DC9B}"/>
              </a:ext>
            </a:extLst>
          </p:cNvPr>
          <p:cNvSpPr/>
          <p:nvPr/>
        </p:nvSpPr>
        <p:spPr>
          <a:xfrm>
            <a:off x="7318872" y="1641407"/>
            <a:ext cx="4307640" cy="627119"/>
          </a:xfrm>
          <a:prstGeom prst="roundRect">
            <a:avLst/>
          </a:prstGeom>
          <a:noFill/>
          <a:ln w="19050">
            <a:solidFill>
              <a:srgbClr val="4F868E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spcAft>
                <a:spcPts val="1800"/>
              </a:spcAft>
            </a:pP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  Integrabile </a:t>
            </a:r>
            <a:r>
              <a:rPr lang="it-IT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 i sistemi proprietari</a:t>
            </a:r>
          </a:p>
        </p:txBody>
      </p:sp>
      <p:sp>
        <p:nvSpPr>
          <p:cNvPr id="11" name="Rettangolo con angoli arrotondati 10">
            <a:extLst>
              <a:ext uri="{FF2B5EF4-FFF2-40B4-BE49-F238E27FC236}">
                <a16:creationId xmlns:a16="http://schemas.microsoft.com/office/drawing/2014/main" id="{4D39394C-14F1-39DA-3ED5-B9F7B20D5F8D}"/>
              </a:ext>
            </a:extLst>
          </p:cNvPr>
          <p:cNvSpPr/>
          <p:nvPr/>
        </p:nvSpPr>
        <p:spPr>
          <a:xfrm>
            <a:off x="7318872" y="2652767"/>
            <a:ext cx="4307640" cy="627119"/>
          </a:xfrm>
          <a:prstGeom prst="roundRect">
            <a:avLst/>
          </a:prstGeom>
          <a:noFill/>
          <a:ln w="19050">
            <a:solidFill>
              <a:srgbClr val="D7D2CB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spcAft>
                <a:spcPts val="1800"/>
              </a:spcAft>
            </a:pPr>
            <a:r>
              <a:rPr lang="it-IT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         Aperta a </a:t>
            </a: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provider</a:t>
            </a:r>
            <a:r>
              <a:rPr lang="it-IT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rzi o </a:t>
            </a: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zi a valore aggiunto</a:t>
            </a:r>
            <a:endParaRPr lang="it-IT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ttangolo con angoli arrotondati 11">
            <a:extLst>
              <a:ext uri="{FF2B5EF4-FFF2-40B4-BE49-F238E27FC236}">
                <a16:creationId xmlns:a16="http://schemas.microsoft.com/office/drawing/2014/main" id="{78442CA0-4DFC-0FDF-0514-B131D9609389}"/>
              </a:ext>
            </a:extLst>
          </p:cNvPr>
          <p:cNvSpPr/>
          <p:nvPr/>
        </p:nvSpPr>
        <p:spPr>
          <a:xfrm>
            <a:off x="592062" y="1613348"/>
            <a:ext cx="4307641" cy="627119"/>
          </a:xfrm>
          <a:prstGeom prst="roundRect">
            <a:avLst/>
          </a:prstGeom>
          <a:noFill/>
          <a:ln w="19050">
            <a:solidFill>
              <a:srgbClr val="AA006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 Aperta</a:t>
            </a:r>
            <a:r>
              <a:rPr lang="it-IT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tutti gli attori </a:t>
            </a:r>
            <a:r>
              <a:rPr lang="it-IT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l’ecosistema</a:t>
            </a:r>
          </a:p>
        </p:txBody>
      </p:sp>
      <p:sp>
        <p:nvSpPr>
          <p:cNvPr id="13" name="Rettangolo con angoli arrotondati 12">
            <a:extLst>
              <a:ext uri="{FF2B5EF4-FFF2-40B4-BE49-F238E27FC236}">
                <a16:creationId xmlns:a16="http://schemas.microsoft.com/office/drawing/2014/main" id="{CCB0FDC5-FC3B-B185-EFB8-2A1A888C78CB}"/>
              </a:ext>
            </a:extLst>
          </p:cNvPr>
          <p:cNvSpPr/>
          <p:nvPr/>
        </p:nvSpPr>
        <p:spPr>
          <a:xfrm>
            <a:off x="565489" y="2658461"/>
            <a:ext cx="4307640" cy="615729"/>
          </a:xfrm>
          <a:prstGeom prst="roundRect">
            <a:avLst/>
          </a:prstGeom>
          <a:noFill/>
          <a:ln w="19050">
            <a:solidFill>
              <a:srgbClr val="A7BCD6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spcAft>
                <a:spcPts val="1800"/>
              </a:spcAft>
            </a:pP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  	     A supporto degli strumenti </a:t>
            </a:r>
            <a:r>
              <a:rPr lang="it-IT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 dei processi delle singole aziende</a:t>
            </a:r>
          </a:p>
        </p:txBody>
      </p:sp>
      <p:sp>
        <p:nvSpPr>
          <p:cNvPr id="14" name="Ovale 13">
            <a:extLst>
              <a:ext uri="{FF2B5EF4-FFF2-40B4-BE49-F238E27FC236}">
                <a16:creationId xmlns:a16="http://schemas.microsoft.com/office/drawing/2014/main" id="{D14BAF84-5181-F6B1-706E-1FC7E7DC5776}"/>
              </a:ext>
            </a:extLst>
          </p:cNvPr>
          <p:cNvSpPr>
            <a:spLocks noChangeAspect="1"/>
          </p:cNvSpPr>
          <p:nvPr/>
        </p:nvSpPr>
        <p:spPr>
          <a:xfrm>
            <a:off x="5513933" y="1882917"/>
            <a:ext cx="1217373" cy="1216300"/>
          </a:xfrm>
          <a:prstGeom prst="ellipse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5" name="Elemento grafico 14" descr="Appunti con riempimento a tinta unita">
            <a:extLst>
              <a:ext uri="{FF2B5EF4-FFF2-40B4-BE49-F238E27FC236}">
                <a16:creationId xmlns:a16="http://schemas.microsoft.com/office/drawing/2014/main" id="{B8098407-0ED8-6E73-4797-886749BEB5B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03230" y="2032456"/>
            <a:ext cx="914400" cy="914400"/>
          </a:xfrm>
          <a:prstGeom prst="rect">
            <a:avLst/>
          </a:prstGeom>
        </p:spPr>
      </p:pic>
      <p:cxnSp>
        <p:nvCxnSpPr>
          <p:cNvPr id="16" name="Connettore diritto 15">
            <a:extLst>
              <a:ext uri="{FF2B5EF4-FFF2-40B4-BE49-F238E27FC236}">
                <a16:creationId xmlns:a16="http://schemas.microsoft.com/office/drawing/2014/main" id="{82AFCB6E-D23A-37DE-FA96-71CAB03AEB2B}"/>
              </a:ext>
            </a:extLst>
          </p:cNvPr>
          <p:cNvCxnSpPr>
            <a:cxnSpLocks/>
            <a:stCxn id="14" idx="4"/>
            <a:endCxn id="9" idx="0"/>
          </p:cNvCxnSpPr>
          <p:nvPr/>
        </p:nvCxnSpPr>
        <p:spPr>
          <a:xfrm flipH="1">
            <a:off x="6122619" y="3099217"/>
            <a:ext cx="1" cy="566240"/>
          </a:xfrm>
          <a:prstGeom prst="line">
            <a:avLst/>
          </a:prstGeom>
          <a:ln w="19050">
            <a:solidFill>
              <a:srgbClr val="C4D6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uppo 16">
            <a:extLst>
              <a:ext uri="{FF2B5EF4-FFF2-40B4-BE49-F238E27FC236}">
                <a16:creationId xmlns:a16="http://schemas.microsoft.com/office/drawing/2014/main" id="{26440D1C-2A9B-346C-4C77-E5A5D4D90316}"/>
              </a:ext>
            </a:extLst>
          </p:cNvPr>
          <p:cNvGrpSpPr/>
          <p:nvPr/>
        </p:nvGrpSpPr>
        <p:grpSpPr>
          <a:xfrm>
            <a:off x="1953409" y="4218050"/>
            <a:ext cx="8366462" cy="1998717"/>
            <a:chOff x="2268369" y="4330543"/>
            <a:chExt cx="8366462" cy="1998717"/>
          </a:xfrm>
        </p:grpSpPr>
        <p:sp>
          <p:nvSpPr>
            <p:cNvPr id="18" name="Google Shape;214;p4">
              <a:extLst>
                <a:ext uri="{FF2B5EF4-FFF2-40B4-BE49-F238E27FC236}">
                  <a16:creationId xmlns:a16="http://schemas.microsoft.com/office/drawing/2014/main" id="{BECD5423-354A-5D91-A969-45B41B979788}"/>
                </a:ext>
              </a:extLst>
            </p:cNvPr>
            <p:cNvSpPr/>
            <p:nvPr/>
          </p:nvSpPr>
          <p:spPr>
            <a:xfrm>
              <a:off x="2268370" y="4330543"/>
              <a:ext cx="1493303" cy="749696"/>
            </a:xfrm>
            <a:prstGeom prst="roundRect">
              <a:avLst>
                <a:gd name="adj" fmla="val 16667"/>
              </a:avLst>
            </a:prstGeom>
            <a:solidFill>
              <a:schemeClr val="lt1"/>
            </a:solidFill>
            <a:ln w="12700" cap="flat" cmpd="sng">
              <a:solidFill>
                <a:srgbClr val="C4D600"/>
              </a:solidFill>
              <a:prstDash val="solid"/>
              <a:miter lim="800000"/>
              <a:headEnd type="none" w="sm" len="sm"/>
              <a:tailEnd type="none" w="sm" len="sm"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it-IT" sz="13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Calibri"/>
                  <a:cs typeface="Arial" panose="020B0604020202020204" pitchFamily="34" charset="0"/>
                  <a:sym typeface="Calibri"/>
                </a:rPr>
                <a:t>Onboarding</a:t>
              </a:r>
              <a:r>
                <a:rPr kumimoji="0" lang="it-IT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Calibri"/>
                  <a:cs typeface="Arial" panose="020B0604020202020204" pitchFamily="34" charset="0"/>
                  <a:sym typeface="Calibri"/>
                </a:rPr>
                <a:t> organizzazioni e utenti</a:t>
              </a:r>
              <a:endParaRPr kumimoji="0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19" name="Google Shape;215;p4">
              <a:extLst>
                <a:ext uri="{FF2B5EF4-FFF2-40B4-BE49-F238E27FC236}">
                  <a16:creationId xmlns:a16="http://schemas.microsoft.com/office/drawing/2014/main" id="{1CADC544-C795-7A57-D517-5CBAF20B01C2}"/>
                </a:ext>
              </a:extLst>
            </p:cNvPr>
            <p:cNvSpPr/>
            <p:nvPr/>
          </p:nvSpPr>
          <p:spPr>
            <a:xfrm>
              <a:off x="4376230" y="5579564"/>
              <a:ext cx="1493303" cy="749696"/>
            </a:xfrm>
            <a:prstGeom prst="roundRect">
              <a:avLst>
                <a:gd name="adj" fmla="val 16667"/>
              </a:avLst>
            </a:prstGeom>
            <a:solidFill>
              <a:schemeClr val="lt1"/>
            </a:solidFill>
            <a:ln w="57150" cap="flat" cmpd="sng">
              <a:solidFill>
                <a:srgbClr val="C4D600"/>
              </a:solidFill>
              <a:prstDash val="solid"/>
              <a:miter lim="800000"/>
              <a:headEnd type="none" w="sm" len="sm"/>
              <a:tailEnd type="none" w="sm" len="sm"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it-IT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Calibri"/>
                  <a:cs typeface="Arial" panose="020B0604020202020204" pitchFamily="34" charset="0"/>
                  <a:sym typeface="Calibri"/>
                </a:rPr>
                <a:t>Condivisione atto fideiussorio per attivazione</a:t>
              </a: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20" name="Google Shape;216;p4">
              <a:extLst>
                <a:ext uri="{FF2B5EF4-FFF2-40B4-BE49-F238E27FC236}">
                  <a16:creationId xmlns:a16="http://schemas.microsoft.com/office/drawing/2014/main" id="{00AB8897-1A3E-74C3-BF81-BE91631F4F63}"/>
                </a:ext>
              </a:extLst>
            </p:cNvPr>
            <p:cNvSpPr/>
            <p:nvPr/>
          </p:nvSpPr>
          <p:spPr>
            <a:xfrm>
              <a:off x="6573682" y="5565379"/>
              <a:ext cx="1493303" cy="749696"/>
            </a:xfrm>
            <a:prstGeom prst="roundRect">
              <a:avLst>
                <a:gd name="adj" fmla="val 16667"/>
              </a:avLst>
            </a:prstGeom>
            <a:solidFill>
              <a:schemeClr val="lt1"/>
            </a:solidFill>
            <a:ln w="12700" cap="flat" cmpd="sng">
              <a:solidFill>
                <a:srgbClr val="C4D600"/>
              </a:solidFill>
              <a:prstDash val="solid"/>
              <a:miter lim="800000"/>
              <a:headEnd type="none" w="sm" len="sm"/>
              <a:tailEnd type="none" w="sm" len="sm"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it-IT" sz="1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Calibri"/>
                  <a:cs typeface="Arial" panose="020B0604020202020204" pitchFamily="34" charset="0"/>
                  <a:sym typeface="Calibri"/>
                </a:rPr>
                <a:t>Gestione del ciclo di vita - SVINCOLO</a:t>
              </a:r>
              <a:endParaRPr kumimoji="0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21" name="Google Shape;217;p4">
              <a:extLst>
                <a:ext uri="{FF2B5EF4-FFF2-40B4-BE49-F238E27FC236}">
                  <a16:creationId xmlns:a16="http://schemas.microsoft.com/office/drawing/2014/main" id="{7BC9BE76-6E74-10A1-F589-D47122651F6B}"/>
                </a:ext>
              </a:extLst>
            </p:cNvPr>
            <p:cNvSpPr/>
            <p:nvPr/>
          </p:nvSpPr>
          <p:spPr>
            <a:xfrm>
              <a:off x="8726259" y="5565379"/>
              <a:ext cx="1493303" cy="749696"/>
            </a:xfrm>
            <a:prstGeom prst="roundRect">
              <a:avLst>
                <a:gd name="adj" fmla="val 16667"/>
              </a:avLst>
            </a:prstGeom>
            <a:solidFill>
              <a:schemeClr val="lt1"/>
            </a:solidFill>
            <a:ln w="12700" cap="flat" cmpd="sng">
              <a:solidFill>
                <a:srgbClr val="C4D600"/>
              </a:solidFill>
              <a:prstDash val="solid"/>
              <a:miter lim="800000"/>
              <a:headEnd type="none" w="sm" len="sm"/>
              <a:tailEnd type="none" w="sm" len="sm"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it-IT" sz="1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Calibri"/>
                  <a:cs typeface="Arial" panose="020B0604020202020204" pitchFamily="34" charset="0"/>
                  <a:sym typeface="Calibri"/>
                </a:rPr>
                <a:t>Gestione del ciclo di vita - ESCUSSIONE</a:t>
              </a:r>
              <a:endParaRPr kumimoji="0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22" name="Google Shape;219;p4">
              <a:extLst>
                <a:ext uri="{FF2B5EF4-FFF2-40B4-BE49-F238E27FC236}">
                  <a16:creationId xmlns:a16="http://schemas.microsoft.com/office/drawing/2014/main" id="{13BB442D-98F5-DB1C-F10A-8791E56A97F7}"/>
                </a:ext>
              </a:extLst>
            </p:cNvPr>
            <p:cNvSpPr/>
            <p:nvPr/>
          </p:nvSpPr>
          <p:spPr>
            <a:xfrm rot="5400000">
              <a:off x="10091101" y="4850831"/>
              <a:ext cx="745635" cy="341824"/>
            </a:xfrm>
            <a:prstGeom prst="uturnArrow">
              <a:avLst>
                <a:gd name="adj1" fmla="val 50000"/>
                <a:gd name="adj2" fmla="val 25000"/>
                <a:gd name="adj3" fmla="val 18295"/>
                <a:gd name="adj4" fmla="val 43750"/>
                <a:gd name="adj5" fmla="val 78277"/>
              </a:avLst>
            </a:prstGeom>
            <a:solidFill>
              <a:srgbClr val="0030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3" name="Google Shape;220;p4">
              <a:extLst>
                <a:ext uri="{FF2B5EF4-FFF2-40B4-BE49-F238E27FC236}">
                  <a16:creationId xmlns:a16="http://schemas.microsoft.com/office/drawing/2014/main" id="{1D80E0E1-23BB-6FCC-2E42-0D84A1DE6FD3}"/>
                </a:ext>
              </a:extLst>
            </p:cNvPr>
            <p:cNvSpPr/>
            <p:nvPr/>
          </p:nvSpPr>
          <p:spPr>
            <a:xfrm rot="16200000" flipH="1">
              <a:off x="3571385" y="5290163"/>
              <a:ext cx="966443" cy="792000"/>
            </a:xfrm>
            <a:prstGeom prst="uturnArrow">
              <a:avLst>
                <a:gd name="adj1" fmla="val 23919"/>
                <a:gd name="adj2" fmla="val 25000"/>
                <a:gd name="adj3" fmla="val 25000"/>
                <a:gd name="adj4" fmla="val 43750"/>
                <a:gd name="adj5" fmla="val 75000"/>
              </a:avLst>
            </a:prstGeom>
            <a:solidFill>
              <a:srgbClr val="0030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4" name="Google Shape;221;p4">
              <a:extLst>
                <a:ext uri="{FF2B5EF4-FFF2-40B4-BE49-F238E27FC236}">
                  <a16:creationId xmlns:a16="http://schemas.microsoft.com/office/drawing/2014/main" id="{AD6B7524-6639-A2B7-F349-93C66C5EA45C}"/>
                </a:ext>
              </a:extLst>
            </p:cNvPr>
            <p:cNvSpPr/>
            <p:nvPr/>
          </p:nvSpPr>
          <p:spPr>
            <a:xfrm rot="10800000">
              <a:off x="4344197" y="5200932"/>
              <a:ext cx="6141121" cy="193390"/>
            </a:xfrm>
            <a:prstGeom prst="rect">
              <a:avLst/>
            </a:prstGeom>
            <a:solidFill>
              <a:srgbClr val="003057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25" name="Google Shape;222;p4">
              <a:extLst>
                <a:ext uri="{FF2B5EF4-FFF2-40B4-BE49-F238E27FC236}">
                  <a16:creationId xmlns:a16="http://schemas.microsoft.com/office/drawing/2014/main" id="{3D30F01F-F6DB-301D-99C4-90DB9D3A503C}"/>
                </a:ext>
              </a:extLst>
            </p:cNvPr>
            <p:cNvSpPr/>
            <p:nvPr/>
          </p:nvSpPr>
          <p:spPr>
            <a:xfrm>
              <a:off x="6522885" y="4330543"/>
              <a:ext cx="1493303" cy="749696"/>
            </a:xfrm>
            <a:prstGeom prst="roundRect">
              <a:avLst>
                <a:gd name="adj" fmla="val 16667"/>
              </a:avLst>
            </a:prstGeom>
            <a:solidFill>
              <a:schemeClr val="lt1"/>
            </a:solidFill>
            <a:ln w="12700" cap="flat" cmpd="sng">
              <a:solidFill>
                <a:srgbClr val="C4D600"/>
              </a:solidFill>
              <a:prstDash val="solid"/>
              <a:miter lim="800000"/>
              <a:headEnd type="none" w="sm" len="sm"/>
              <a:tailEnd type="none" w="sm" len="sm"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it-IT" sz="1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Calibri"/>
                  <a:cs typeface="Arial" panose="020B0604020202020204" pitchFamily="34" charset="0"/>
                  <a:sym typeface="Calibri"/>
                </a:rPr>
                <a:t>Condivisione bozza</a:t>
              </a:r>
              <a:endParaRPr kumimoji="0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26" name="Google Shape;224;p4">
              <a:extLst>
                <a:ext uri="{FF2B5EF4-FFF2-40B4-BE49-F238E27FC236}">
                  <a16:creationId xmlns:a16="http://schemas.microsoft.com/office/drawing/2014/main" id="{160430CF-311A-F98F-CEA6-30BF3F3A1DC3}"/>
                </a:ext>
              </a:extLst>
            </p:cNvPr>
            <p:cNvSpPr/>
            <p:nvPr/>
          </p:nvSpPr>
          <p:spPr>
            <a:xfrm>
              <a:off x="8675461" y="4330543"/>
              <a:ext cx="1493303" cy="749696"/>
            </a:xfrm>
            <a:prstGeom prst="roundRect">
              <a:avLst>
                <a:gd name="adj" fmla="val 16667"/>
              </a:avLst>
            </a:prstGeom>
            <a:solidFill>
              <a:schemeClr val="lt1"/>
            </a:solidFill>
            <a:ln w="12700" cap="flat" cmpd="sng">
              <a:solidFill>
                <a:srgbClr val="C4D600"/>
              </a:solidFill>
              <a:prstDash val="solid"/>
              <a:miter lim="800000"/>
              <a:headEnd type="none" w="sm" len="sm"/>
              <a:tailEnd type="none" w="sm" len="sm"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it-IT" sz="1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Calibri"/>
                  <a:cs typeface="Arial" panose="020B0604020202020204" pitchFamily="34" charset="0"/>
                  <a:sym typeface="Calibri"/>
                </a:rPr>
                <a:t>Proposta modifiche o conferma controparti</a:t>
              </a:r>
              <a:endParaRPr kumimoji="0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27" name="Google Shape;214;p4">
              <a:extLst>
                <a:ext uri="{FF2B5EF4-FFF2-40B4-BE49-F238E27FC236}">
                  <a16:creationId xmlns:a16="http://schemas.microsoft.com/office/drawing/2014/main" id="{99750C4E-C903-C60B-7795-A897E0554703}"/>
                </a:ext>
              </a:extLst>
            </p:cNvPr>
            <p:cNvSpPr/>
            <p:nvPr/>
          </p:nvSpPr>
          <p:spPr>
            <a:xfrm>
              <a:off x="2268369" y="4330543"/>
              <a:ext cx="1493303" cy="749696"/>
            </a:xfrm>
            <a:prstGeom prst="roundRect">
              <a:avLst>
                <a:gd name="adj" fmla="val 16667"/>
              </a:avLst>
            </a:prstGeom>
            <a:solidFill>
              <a:schemeClr val="lt1"/>
            </a:solidFill>
            <a:ln w="57150" cap="flat" cmpd="sng">
              <a:solidFill>
                <a:srgbClr val="C4D600"/>
              </a:solidFill>
              <a:prstDash val="solid"/>
              <a:miter lim="800000"/>
              <a:headEnd type="none" w="sm" len="sm"/>
              <a:tailEnd type="none" w="sm" len="sm"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it-IT" sz="13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Calibri"/>
                  <a:cs typeface="Arial" panose="020B0604020202020204" pitchFamily="34" charset="0"/>
                  <a:sym typeface="Calibri"/>
                </a:rPr>
                <a:t>Onboarding</a:t>
              </a:r>
              <a:r>
                <a:rPr kumimoji="0" lang="it-IT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Calibri"/>
                  <a:cs typeface="Arial" panose="020B0604020202020204" pitchFamily="34" charset="0"/>
                  <a:sym typeface="Calibri"/>
                </a:rPr>
                <a:t> organizzazioni e utenti</a:t>
              </a:r>
              <a:endParaRPr kumimoji="0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28" name="Google Shape;216;p4">
              <a:extLst>
                <a:ext uri="{FF2B5EF4-FFF2-40B4-BE49-F238E27FC236}">
                  <a16:creationId xmlns:a16="http://schemas.microsoft.com/office/drawing/2014/main" id="{4918AD9C-C11D-6803-6D5C-473CD35F96B0}"/>
                </a:ext>
              </a:extLst>
            </p:cNvPr>
            <p:cNvSpPr/>
            <p:nvPr/>
          </p:nvSpPr>
          <p:spPr>
            <a:xfrm>
              <a:off x="6573681" y="5565379"/>
              <a:ext cx="1493303" cy="749696"/>
            </a:xfrm>
            <a:prstGeom prst="roundRect">
              <a:avLst>
                <a:gd name="adj" fmla="val 16667"/>
              </a:avLst>
            </a:prstGeom>
            <a:solidFill>
              <a:schemeClr val="lt1"/>
            </a:solidFill>
            <a:ln w="57150" cap="flat" cmpd="sng">
              <a:solidFill>
                <a:srgbClr val="C4D600"/>
              </a:solidFill>
              <a:prstDash val="solid"/>
              <a:miter lim="800000"/>
              <a:headEnd type="none" w="sm" len="sm"/>
              <a:tailEnd type="none" w="sm" len="sm"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it-IT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Calibri"/>
                  <a:cs typeface="Arial" panose="020B0604020202020204" pitchFamily="34" charset="0"/>
                  <a:sym typeface="Calibri"/>
                </a:rPr>
                <a:t>Gestione del ciclo di vita - SVINCOLO</a:t>
              </a:r>
              <a:endParaRPr kumimoji="0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29" name="Google Shape;217;p4">
              <a:extLst>
                <a:ext uri="{FF2B5EF4-FFF2-40B4-BE49-F238E27FC236}">
                  <a16:creationId xmlns:a16="http://schemas.microsoft.com/office/drawing/2014/main" id="{CB758962-15EE-AC45-A9FB-E6A1D52A1563}"/>
                </a:ext>
              </a:extLst>
            </p:cNvPr>
            <p:cNvSpPr/>
            <p:nvPr/>
          </p:nvSpPr>
          <p:spPr>
            <a:xfrm>
              <a:off x="8726258" y="5565379"/>
              <a:ext cx="1493303" cy="749696"/>
            </a:xfrm>
            <a:prstGeom prst="roundRect">
              <a:avLst>
                <a:gd name="adj" fmla="val 16667"/>
              </a:avLst>
            </a:prstGeom>
            <a:solidFill>
              <a:schemeClr val="lt1"/>
            </a:solidFill>
            <a:ln w="57150" cap="flat" cmpd="sng">
              <a:solidFill>
                <a:srgbClr val="C4D600"/>
              </a:solidFill>
              <a:prstDash val="solid"/>
              <a:miter lim="800000"/>
              <a:headEnd type="none" w="sm" len="sm"/>
              <a:tailEnd type="none" w="sm" len="sm"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it-IT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Calibri"/>
                  <a:cs typeface="Arial" panose="020B0604020202020204" pitchFamily="34" charset="0"/>
                  <a:sym typeface="Calibri"/>
                </a:rPr>
                <a:t>Gestione del ciclo di vita - ESCUSSIONE</a:t>
              </a:r>
              <a:endParaRPr kumimoji="0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30" name="Google Shape;222;p4">
              <a:extLst>
                <a:ext uri="{FF2B5EF4-FFF2-40B4-BE49-F238E27FC236}">
                  <a16:creationId xmlns:a16="http://schemas.microsoft.com/office/drawing/2014/main" id="{0AAD0E44-AB66-BC3D-7DE8-9ECE9BD629BF}"/>
                </a:ext>
              </a:extLst>
            </p:cNvPr>
            <p:cNvSpPr/>
            <p:nvPr/>
          </p:nvSpPr>
          <p:spPr>
            <a:xfrm>
              <a:off x="6522884" y="4330543"/>
              <a:ext cx="1493303" cy="749696"/>
            </a:xfrm>
            <a:prstGeom prst="roundRect">
              <a:avLst>
                <a:gd name="adj" fmla="val 16667"/>
              </a:avLst>
            </a:prstGeom>
            <a:solidFill>
              <a:schemeClr val="lt1"/>
            </a:solidFill>
            <a:ln w="57150" cap="flat" cmpd="sng">
              <a:solidFill>
                <a:srgbClr val="C4D600"/>
              </a:solidFill>
              <a:prstDash val="solid"/>
              <a:miter lim="800000"/>
              <a:headEnd type="none" w="sm" len="sm"/>
              <a:tailEnd type="none" w="sm" len="sm"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it-IT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Calibri"/>
                  <a:cs typeface="Arial" panose="020B0604020202020204" pitchFamily="34" charset="0"/>
                  <a:sym typeface="Calibri"/>
                </a:rPr>
                <a:t>Condivisione bozza</a:t>
              </a:r>
              <a:endParaRPr kumimoji="0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31" name="Google Shape;224;p4">
              <a:extLst>
                <a:ext uri="{FF2B5EF4-FFF2-40B4-BE49-F238E27FC236}">
                  <a16:creationId xmlns:a16="http://schemas.microsoft.com/office/drawing/2014/main" id="{0A3AE581-58A6-F082-246D-2802A0D10B6D}"/>
                </a:ext>
              </a:extLst>
            </p:cNvPr>
            <p:cNvSpPr/>
            <p:nvPr/>
          </p:nvSpPr>
          <p:spPr>
            <a:xfrm>
              <a:off x="8675460" y="4330543"/>
              <a:ext cx="1493303" cy="749696"/>
            </a:xfrm>
            <a:prstGeom prst="roundRect">
              <a:avLst>
                <a:gd name="adj" fmla="val 16667"/>
              </a:avLst>
            </a:prstGeom>
            <a:solidFill>
              <a:schemeClr val="lt1"/>
            </a:solidFill>
            <a:ln w="57150" cap="flat" cmpd="sng">
              <a:solidFill>
                <a:srgbClr val="C4D600"/>
              </a:solidFill>
              <a:prstDash val="solid"/>
              <a:miter lim="800000"/>
              <a:headEnd type="none" w="sm" len="sm"/>
              <a:tailEnd type="none" w="sm" len="sm"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it-IT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Calibri"/>
                  <a:cs typeface="Arial" panose="020B0604020202020204" pitchFamily="34" charset="0"/>
                  <a:sym typeface="Calibri"/>
                </a:rPr>
                <a:t>Proposta modifiche o conferma controparti</a:t>
              </a: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32" name="Google Shape;214;p4">
              <a:extLst>
                <a:ext uri="{FF2B5EF4-FFF2-40B4-BE49-F238E27FC236}">
                  <a16:creationId xmlns:a16="http://schemas.microsoft.com/office/drawing/2014/main" id="{FCF47A30-527E-6A30-13E3-3F4CA308D009}"/>
                </a:ext>
              </a:extLst>
            </p:cNvPr>
            <p:cNvSpPr/>
            <p:nvPr/>
          </p:nvSpPr>
          <p:spPr>
            <a:xfrm>
              <a:off x="2268370" y="4330543"/>
              <a:ext cx="1493303" cy="749696"/>
            </a:xfrm>
            <a:prstGeom prst="roundRect">
              <a:avLst>
                <a:gd name="adj" fmla="val 16667"/>
              </a:avLst>
            </a:prstGeom>
            <a:solidFill>
              <a:schemeClr val="lt1"/>
            </a:solidFill>
            <a:ln w="57150" cap="flat" cmpd="sng">
              <a:solidFill>
                <a:srgbClr val="C4D600"/>
              </a:solidFill>
              <a:prstDash val="solid"/>
              <a:miter lim="800000"/>
              <a:headEnd type="none" w="sm" len="sm"/>
              <a:tailEnd type="none" w="sm" len="sm"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it-IT" sz="12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Calibri"/>
                  <a:cs typeface="Arial" panose="020B0604020202020204" pitchFamily="34" charset="0"/>
                  <a:sym typeface="Calibri"/>
                </a:rPr>
                <a:t>Onboarding</a:t>
              </a:r>
              <a:r>
                <a:rPr kumimoji="0" lang="it-IT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Calibri"/>
                  <a:cs typeface="Arial" panose="020B0604020202020204" pitchFamily="34" charset="0"/>
                  <a:sym typeface="Calibri"/>
                </a:rPr>
                <a:t> organizzazioni e utenti</a:t>
              </a: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33" name="Google Shape;227;p4">
              <a:extLst>
                <a:ext uri="{FF2B5EF4-FFF2-40B4-BE49-F238E27FC236}">
                  <a16:creationId xmlns:a16="http://schemas.microsoft.com/office/drawing/2014/main" id="{AC497336-CC49-9308-D7F7-1E56B2B1CB52}"/>
                </a:ext>
              </a:extLst>
            </p:cNvPr>
            <p:cNvSpPr/>
            <p:nvPr/>
          </p:nvSpPr>
          <p:spPr>
            <a:xfrm>
              <a:off x="4376231" y="4343570"/>
              <a:ext cx="1493303" cy="749696"/>
            </a:xfrm>
            <a:prstGeom prst="roundRect">
              <a:avLst>
                <a:gd name="adj" fmla="val 16667"/>
              </a:avLst>
            </a:prstGeom>
            <a:solidFill>
              <a:schemeClr val="lt1"/>
            </a:solidFill>
            <a:ln w="57150" cap="flat" cmpd="sng">
              <a:solidFill>
                <a:srgbClr val="C4D600"/>
              </a:solidFill>
              <a:prstDash val="solid"/>
              <a:miter lim="800000"/>
              <a:headEnd type="none" w="sm" len="sm"/>
              <a:tailEnd type="none" w="sm" len="sm"/>
            </a:ln>
            <a:effectLst>
              <a:outerShdw blurRad="50800" dist="38100" dir="2700000" algn="tl" rotWithShape="0">
                <a:srgbClr val="000000">
                  <a:alpha val="4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r>
                <a:rPr kumimoji="0" lang="it-IT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Calibri"/>
                  <a:cs typeface="Arial" panose="020B0604020202020204" pitchFamily="34" charset="0"/>
                  <a:sym typeface="Calibri"/>
                </a:rPr>
                <a:t>Creazione pratica fideiussoria e salvataggio bozza</a:t>
              </a: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34" name="Google Shape;225;p4">
              <a:extLst>
                <a:ext uri="{FF2B5EF4-FFF2-40B4-BE49-F238E27FC236}">
                  <a16:creationId xmlns:a16="http://schemas.microsoft.com/office/drawing/2014/main" id="{E0E4FFE4-D25E-4190-D724-62BB66E9A510}"/>
                </a:ext>
              </a:extLst>
            </p:cNvPr>
            <p:cNvSpPr/>
            <p:nvPr/>
          </p:nvSpPr>
          <p:spPr>
            <a:xfrm rot="5400000">
              <a:off x="5992449" y="5866340"/>
              <a:ext cx="458314" cy="147775"/>
            </a:xfrm>
            <a:prstGeom prst="triangle">
              <a:avLst>
                <a:gd name="adj" fmla="val 50000"/>
              </a:avLst>
            </a:prstGeom>
            <a:solidFill>
              <a:schemeClr val="bg1">
                <a:lumMod val="85000"/>
              </a:schemeClr>
            </a:solidFill>
            <a:ln w="12700" cap="flat" cmpd="sng">
              <a:solidFill>
                <a:schemeClr val="bg1">
                  <a:lumMod val="85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3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5" name="Google Shape;225;p4">
              <a:extLst>
                <a:ext uri="{FF2B5EF4-FFF2-40B4-BE49-F238E27FC236}">
                  <a16:creationId xmlns:a16="http://schemas.microsoft.com/office/drawing/2014/main" id="{28CE8374-3306-E626-5E18-E94F3BF8F119}"/>
                </a:ext>
              </a:extLst>
            </p:cNvPr>
            <p:cNvSpPr/>
            <p:nvPr/>
          </p:nvSpPr>
          <p:spPr>
            <a:xfrm rot="5400000">
              <a:off x="5992448" y="4641280"/>
              <a:ext cx="458314" cy="147775"/>
            </a:xfrm>
            <a:prstGeom prst="triangle">
              <a:avLst>
                <a:gd name="adj" fmla="val 50000"/>
              </a:avLst>
            </a:prstGeom>
            <a:solidFill>
              <a:schemeClr val="bg1">
                <a:lumMod val="85000"/>
              </a:schemeClr>
            </a:solidFill>
            <a:ln w="12700" cap="flat" cmpd="sng">
              <a:solidFill>
                <a:schemeClr val="bg1">
                  <a:lumMod val="85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3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6" name="Google Shape;225;p4">
              <a:extLst>
                <a:ext uri="{FF2B5EF4-FFF2-40B4-BE49-F238E27FC236}">
                  <a16:creationId xmlns:a16="http://schemas.microsoft.com/office/drawing/2014/main" id="{29B6267C-A8BA-572B-D38F-166C64CB5B31}"/>
                </a:ext>
              </a:extLst>
            </p:cNvPr>
            <p:cNvSpPr/>
            <p:nvPr/>
          </p:nvSpPr>
          <p:spPr>
            <a:xfrm rot="5400000">
              <a:off x="3867116" y="4641281"/>
              <a:ext cx="458314" cy="147775"/>
            </a:xfrm>
            <a:prstGeom prst="triangle">
              <a:avLst>
                <a:gd name="adj" fmla="val 50000"/>
              </a:avLst>
            </a:prstGeom>
            <a:solidFill>
              <a:schemeClr val="bg1">
                <a:lumMod val="85000"/>
              </a:schemeClr>
            </a:solidFill>
            <a:ln w="12700" cap="flat" cmpd="sng">
              <a:solidFill>
                <a:schemeClr val="bg1">
                  <a:lumMod val="85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3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7" name="Google Shape;225;p4">
              <a:extLst>
                <a:ext uri="{FF2B5EF4-FFF2-40B4-BE49-F238E27FC236}">
                  <a16:creationId xmlns:a16="http://schemas.microsoft.com/office/drawing/2014/main" id="{6B381B0B-812F-039C-FFB5-1704A80A3040}"/>
                </a:ext>
              </a:extLst>
            </p:cNvPr>
            <p:cNvSpPr/>
            <p:nvPr/>
          </p:nvSpPr>
          <p:spPr>
            <a:xfrm rot="5400000">
              <a:off x="8149785" y="4638028"/>
              <a:ext cx="458314" cy="147775"/>
            </a:xfrm>
            <a:prstGeom prst="triangle">
              <a:avLst>
                <a:gd name="adj" fmla="val 50000"/>
              </a:avLst>
            </a:prstGeom>
            <a:solidFill>
              <a:schemeClr val="bg1">
                <a:lumMod val="85000"/>
              </a:schemeClr>
            </a:solidFill>
            <a:ln w="12700" cap="flat" cmpd="sng">
              <a:solidFill>
                <a:schemeClr val="bg1">
                  <a:lumMod val="85000"/>
                </a:scheme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3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8" name="Google Shape;225;p4">
              <a:extLst>
                <a:ext uri="{FF2B5EF4-FFF2-40B4-BE49-F238E27FC236}">
                  <a16:creationId xmlns:a16="http://schemas.microsoft.com/office/drawing/2014/main" id="{93433B01-6CDF-915F-2338-2FAFB95DCD5C}"/>
                </a:ext>
              </a:extLst>
            </p:cNvPr>
            <p:cNvSpPr/>
            <p:nvPr/>
          </p:nvSpPr>
          <p:spPr>
            <a:xfrm rot="5400000">
              <a:off x="8149784" y="5866341"/>
              <a:ext cx="458314" cy="147775"/>
            </a:xfrm>
            <a:prstGeom prst="triangle">
              <a:avLst>
                <a:gd name="adj" fmla="val 50000"/>
              </a:avLst>
            </a:prstGeom>
            <a:solidFill>
              <a:srgbClr val="C4D600"/>
            </a:solidFill>
            <a:ln w="12700" cap="flat" cmpd="sng">
              <a:solidFill>
                <a:srgbClr val="C4D6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3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39" name="Google Shape;225;p4">
              <a:extLst>
                <a:ext uri="{FF2B5EF4-FFF2-40B4-BE49-F238E27FC236}">
                  <a16:creationId xmlns:a16="http://schemas.microsoft.com/office/drawing/2014/main" id="{AD934AF8-4A93-2FAA-A497-CF6F601781BA}"/>
                </a:ext>
              </a:extLst>
            </p:cNvPr>
            <p:cNvSpPr/>
            <p:nvPr/>
          </p:nvSpPr>
          <p:spPr>
            <a:xfrm rot="5400000">
              <a:off x="5992448" y="5866341"/>
              <a:ext cx="458314" cy="147775"/>
            </a:xfrm>
            <a:prstGeom prst="triangle">
              <a:avLst>
                <a:gd name="adj" fmla="val 50000"/>
              </a:avLst>
            </a:prstGeom>
            <a:solidFill>
              <a:srgbClr val="C4D600"/>
            </a:solidFill>
            <a:ln w="12700" cap="flat" cmpd="sng">
              <a:solidFill>
                <a:srgbClr val="C4D6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3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0" name="Google Shape;225;p4">
              <a:extLst>
                <a:ext uri="{FF2B5EF4-FFF2-40B4-BE49-F238E27FC236}">
                  <a16:creationId xmlns:a16="http://schemas.microsoft.com/office/drawing/2014/main" id="{BAD2D1EF-20C6-F947-6BAC-9DAAD888C166}"/>
                </a:ext>
              </a:extLst>
            </p:cNvPr>
            <p:cNvSpPr/>
            <p:nvPr/>
          </p:nvSpPr>
          <p:spPr>
            <a:xfrm rot="5400000">
              <a:off x="5992447" y="4641281"/>
              <a:ext cx="458314" cy="147775"/>
            </a:xfrm>
            <a:prstGeom prst="triangle">
              <a:avLst>
                <a:gd name="adj" fmla="val 50000"/>
              </a:avLst>
            </a:prstGeom>
            <a:solidFill>
              <a:srgbClr val="C4D600"/>
            </a:solidFill>
            <a:ln w="12700" cap="flat" cmpd="sng">
              <a:solidFill>
                <a:srgbClr val="C4D6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3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1" name="Google Shape;225;p4">
              <a:extLst>
                <a:ext uri="{FF2B5EF4-FFF2-40B4-BE49-F238E27FC236}">
                  <a16:creationId xmlns:a16="http://schemas.microsoft.com/office/drawing/2014/main" id="{B9BE5437-9664-7353-9279-EAB5E9DF6191}"/>
                </a:ext>
              </a:extLst>
            </p:cNvPr>
            <p:cNvSpPr/>
            <p:nvPr/>
          </p:nvSpPr>
          <p:spPr>
            <a:xfrm rot="5400000">
              <a:off x="3867115" y="4641282"/>
              <a:ext cx="458314" cy="147775"/>
            </a:xfrm>
            <a:prstGeom prst="triangle">
              <a:avLst>
                <a:gd name="adj" fmla="val 50000"/>
              </a:avLst>
            </a:prstGeom>
            <a:solidFill>
              <a:srgbClr val="C4D600"/>
            </a:solidFill>
            <a:ln w="12700" cap="flat" cmpd="sng">
              <a:solidFill>
                <a:srgbClr val="C4D6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3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  <p:sp>
          <p:nvSpPr>
            <p:cNvPr id="42" name="Google Shape;225;p4">
              <a:extLst>
                <a:ext uri="{FF2B5EF4-FFF2-40B4-BE49-F238E27FC236}">
                  <a16:creationId xmlns:a16="http://schemas.microsoft.com/office/drawing/2014/main" id="{E85ED7D9-C05A-1CC7-AC62-E21D0811B9C2}"/>
                </a:ext>
              </a:extLst>
            </p:cNvPr>
            <p:cNvSpPr/>
            <p:nvPr/>
          </p:nvSpPr>
          <p:spPr>
            <a:xfrm rot="5400000">
              <a:off x="8149784" y="4638029"/>
              <a:ext cx="458314" cy="147775"/>
            </a:xfrm>
            <a:prstGeom prst="triangle">
              <a:avLst>
                <a:gd name="adj" fmla="val 50000"/>
              </a:avLst>
            </a:prstGeom>
            <a:solidFill>
              <a:srgbClr val="C4D600"/>
            </a:solidFill>
            <a:ln w="12700" cap="flat" cmpd="sng">
              <a:solidFill>
                <a:srgbClr val="C4D6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3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endParaRPr>
            </a:p>
          </p:txBody>
        </p:sp>
      </p:grpSp>
      <p:pic>
        <p:nvPicPr>
          <p:cNvPr id="43" name="Elemento grafico 42" descr="Ingranaggi con riempimento a tinta unita">
            <a:extLst>
              <a:ext uri="{FF2B5EF4-FFF2-40B4-BE49-F238E27FC236}">
                <a16:creationId xmlns:a16="http://schemas.microsoft.com/office/drawing/2014/main" id="{586D3DD9-10A9-71AB-C306-70C7E641884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18743" y="2675086"/>
            <a:ext cx="576000" cy="576000"/>
          </a:xfrm>
          <a:prstGeom prst="rect">
            <a:avLst/>
          </a:prstGeom>
        </p:spPr>
      </p:pic>
      <p:pic>
        <p:nvPicPr>
          <p:cNvPr id="44" name="Elemento grafico 43" descr="Influencer con riempimento a tinta unita">
            <a:extLst>
              <a:ext uri="{FF2B5EF4-FFF2-40B4-BE49-F238E27FC236}">
                <a16:creationId xmlns:a16="http://schemas.microsoft.com/office/drawing/2014/main" id="{CC0AEAA4-502B-3131-5796-ED1A9A188BC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18743" y="1635036"/>
            <a:ext cx="576000" cy="576000"/>
          </a:xfrm>
          <a:prstGeom prst="rect">
            <a:avLst/>
          </a:prstGeom>
        </p:spPr>
      </p:pic>
      <p:pic>
        <p:nvPicPr>
          <p:cNvPr id="45" name="Elemento grafico 44" descr="Interfaccia utente/Esperienza utente con riempimento a tinta unita">
            <a:extLst>
              <a:ext uri="{FF2B5EF4-FFF2-40B4-BE49-F238E27FC236}">
                <a16:creationId xmlns:a16="http://schemas.microsoft.com/office/drawing/2014/main" id="{0898597F-B0C4-FB46-02E3-5BEF267417D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792772" y="2689018"/>
            <a:ext cx="576000" cy="576000"/>
          </a:xfrm>
          <a:prstGeom prst="rect">
            <a:avLst/>
          </a:prstGeom>
        </p:spPr>
      </p:pic>
      <p:pic>
        <p:nvPicPr>
          <p:cNvPr id="46" name="Elemento grafico 45" descr="Diagramma di rete con riempimento a tinta unita">
            <a:extLst>
              <a:ext uri="{FF2B5EF4-FFF2-40B4-BE49-F238E27FC236}">
                <a16:creationId xmlns:a16="http://schemas.microsoft.com/office/drawing/2014/main" id="{42DDCC7E-2F17-22C1-DEE6-3E22BF0B6C6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787015" y="1672872"/>
            <a:ext cx="576000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88059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>
            <a:extLst>
              <a:ext uri="{FF2B5EF4-FFF2-40B4-BE49-F238E27FC236}">
                <a16:creationId xmlns:a16="http://schemas.microsoft.com/office/drawing/2014/main" id="{297C2083-BB7E-71CA-7F01-21739EDB2411}"/>
              </a:ext>
            </a:extLst>
          </p:cNvPr>
          <p:cNvSpPr txBox="1"/>
          <p:nvPr/>
        </p:nvSpPr>
        <p:spPr>
          <a:xfrm>
            <a:off x="2858143" y="363081"/>
            <a:ext cx="647571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3000" b="1" dirty="0">
                <a:solidFill>
                  <a:srgbClr val="0030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uoli e responsabilità sul servizio</a:t>
            </a: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819B8719-7F44-A254-5783-C353FCF25DE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19209" y="1080391"/>
            <a:ext cx="2376792" cy="742747"/>
          </a:xfrm>
          <a:prstGeom prst="rect">
            <a:avLst/>
          </a:prstGeom>
        </p:spPr>
      </p:pic>
      <p:sp>
        <p:nvSpPr>
          <p:cNvPr id="4" name="CasellaDiTesto 3">
            <a:extLst>
              <a:ext uri="{FF2B5EF4-FFF2-40B4-BE49-F238E27FC236}">
                <a16:creationId xmlns:a16="http://schemas.microsoft.com/office/drawing/2014/main" id="{906259B6-AB98-5F35-99B0-97A4CCFDE14A}"/>
              </a:ext>
            </a:extLst>
          </p:cNvPr>
          <p:cNvSpPr txBox="1"/>
          <p:nvPr/>
        </p:nvSpPr>
        <p:spPr>
          <a:xfrm>
            <a:off x="837699" y="2079357"/>
            <a:ext cx="3676687" cy="738664"/>
          </a:xfrm>
          <a:prstGeom prst="rect">
            <a:avLst/>
          </a:prstGeom>
          <a:noFill/>
          <a:ln w="38100">
            <a:solidFill>
              <a:srgbClr val="A7BCD6"/>
            </a:solidFill>
            <a:prstDash val="solid"/>
          </a:ln>
        </p:spPr>
        <p:txBody>
          <a:bodyPr wrap="square" rtlCol="0">
            <a:spAutoFit/>
          </a:bodyPr>
          <a:lstStyle/>
          <a:p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Manutenzione correttiva ed evolutiva delle </a:t>
            </a: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Componenti Applicative e del client </a:t>
            </a:r>
            <a:r>
              <a:rPr lang="it-IT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Algorand</a:t>
            </a:r>
            <a:endParaRPr lang="it-IT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ttangolo 4">
            <a:extLst>
              <a:ext uri="{FF2B5EF4-FFF2-40B4-BE49-F238E27FC236}">
                <a16:creationId xmlns:a16="http://schemas.microsoft.com/office/drawing/2014/main" id="{CF55E08D-5543-8E7F-2C9E-2383B9251914}"/>
              </a:ext>
            </a:extLst>
          </p:cNvPr>
          <p:cNvSpPr/>
          <p:nvPr/>
        </p:nvSpPr>
        <p:spPr>
          <a:xfrm>
            <a:off x="848716" y="1784731"/>
            <a:ext cx="3676687" cy="316660"/>
          </a:xfrm>
          <a:prstGeom prst="rect">
            <a:avLst/>
          </a:prstGeom>
          <a:solidFill>
            <a:srgbClr val="A7BCD6"/>
          </a:solidFill>
          <a:ln w="19050">
            <a:solidFill>
              <a:srgbClr val="A7BCD6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Servizi di sviluppo e manutenzione</a:t>
            </a:r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8BF37BB5-37D1-8802-0A55-C78C6A562ABC}"/>
              </a:ext>
            </a:extLst>
          </p:cNvPr>
          <p:cNvSpPr/>
          <p:nvPr/>
        </p:nvSpPr>
        <p:spPr>
          <a:xfrm>
            <a:off x="849803" y="3807046"/>
            <a:ext cx="3675600" cy="396139"/>
          </a:xfrm>
          <a:prstGeom prst="rect">
            <a:avLst/>
          </a:prstGeom>
          <a:solidFill>
            <a:srgbClr val="003057"/>
          </a:solidFill>
          <a:ln w="19050">
            <a:solidFill>
              <a:srgbClr val="003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Servizi Centrali</a:t>
            </a:r>
          </a:p>
        </p:txBody>
      </p:sp>
      <p:sp>
        <p:nvSpPr>
          <p:cNvPr id="7" name="Rettangolo 6">
            <a:extLst>
              <a:ext uri="{FF2B5EF4-FFF2-40B4-BE49-F238E27FC236}">
                <a16:creationId xmlns:a16="http://schemas.microsoft.com/office/drawing/2014/main" id="{507E951E-E19F-05AF-B311-8ABF0B4E4EBB}"/>
              </a:ext>
            </a:extLst>
          </p:cNvPr>
          <p:cNvSpPr/>
          <p:nvPr/>
        </p:nvSpPr>
        <p:spPr>
          <a:xfrm>
            <a:off x="849802" y="4686882"/>
            <a:ext cx="3675600" cy="399289"/>
          </a:xfrm>
          <a:prstGeom prst="rect">
            <a:avLst/>
          </a:prstGeom>
          <a:solidFill>
            <a:srgbClr val="003057"/>
          </a:solidFill>
          <a:ln w="19050">
            <a:solidFill>
              <a:srgbClr val="003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Servizi Di Nodo Applicativo FD</a:t>
            </a: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63B0B05D-B156-301C-0A55-76C19ADBAC67}"/>
              </a:ext>
            </a:extLst>
          </p:cNvPr>
          <p:cNvSpPr txBox="1"/>
          <p:nvPr/>
        </p:nvSpPr>
        <p:spPr>
          <a:xfrm>
            <a:off x="838786" y="4206332"/>
            <a:ext cx="3676687" cy="461665"/>
          </a:xfrm>
          <a:prstGeom prst="rect">
            <a:avLst/>
          </a:prstGeom>
          <a:noFill/>
          <a:ln w="38100">
            <a:solidFill>
              <a:srgbClr val="003057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200" b="1" dirty="0">
                <a:latin typeface="Arial" panose="020B0604020202020204" pitchFamily="34" charset="0"/>
                <a:cs typeface="Arial" panose="020B0604020202020204" pitchFamily="34" charset="0"/>
              </a:rPr>
              <a:t>Infrastruttura di rete Centrale </a:t>
            </a:r>
            <a:r>
              <a:rPr lang="it-IT" sz="1200" dirty="0">
                <a:latin typeface="Arial" panose="020B0604020202020204" pitchFamily="34" charset="0"/>
                <a:cs typeface="Arial" panose="020B0604020202020204" pitchFamily="34" charset="0"/>
              </a:rPr>
              <a:t>(interne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200" b="1" dirty="0">
                <a:latin typeface="Arial" panose="020B0604020202020204" pitchFamily="34" charset="0"/>
                <a:cs typeface="Arial" panose="020B0604020202020204" pitchFamily="34" charset="0"/>
              </a:rPr>
              <a:t>Help Desk Centralizzato </a:t>
            </a:r>
            <a:r>
              <a:rPr lang="it-IT" sz="1200" dirty="0">
                <a:latin typeface="Arial" panose="020B0604020202020204" pitchFamily="34" charset="0"/>
                <a:cs typeface="Arial" panose="020B0604020202020204" pitchFamily="34" charset="0"/>
              </a:rPr>
              <a:t>per assistenza</a:t>
            </a: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2D8899CD-F27F-E811-8F7F-4A65F3989F65}"/>
              </a:ext>
            </a:extLst>
          </p:cNvPr>
          <p:cNvSpPr txBox="1"/>
          <p:nvPr/>
        </p:nvSpPr>
        <p:spPr>
          <a:xfrm>
            <a:off x="838786" y="5089317"/>
            <a:ext cx="3676687" cy="646331"/>
          </a:xfrm>
          <a:prstGeom prst="rect">
            <a:avLst/>
          </a:prstGeom>
          <a:noFill/>
          <a:ln w="38100">
            <a:solidFill>
              <a:srgbClr val="003057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200" dirty="0">
                <a:latin typeface="Arial" panose="020B0604020202020204" pitchFamily="34" charset="0"/>
                <a:cs typeface="Arial" panose="020B0604020202020204" pitchFamily="34" charset="0"/>
              </a:rPr>
              <a:t>Nodo applicativo dedicato a ciascun Garante in ambiente di Test Esterno e Produzion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200" dirty="0">
                <a:latin typeface="Arial" panose="020B0604020202020204" pitchFamily="34" charset="0"/>
                <a:cs typeface="Arial" panose="020B0604020202020204" pitchFamily="34" charset="0"/>
              </a:rPr>
              <a:t>accesso </a:t>
            </a:r>
            <a:r>
              <a:rPr lang="it-IT" sz="1200" b="1" dirty="0">
                <a:latin typeface="Arial" panose="020B0604020202020204" pitchFamily="34" charset="0"/>
                <a:cs typeface="Arial" panose="020B0604020202020204" pitchFamily="34" charset="0"/>
              </a:rPr>
              <a:t>SIANET</a:t>
            </a:r>
            <a:r>
              <a:rPr lang="it-IT" sz="1200" dirty="0">
                <a:latin typeface="Arial" panose="020B0604020202020204" pitchFamily="34" charset="0"/>
                <a:cs typeface="Arial" panose="020B0604020202020204" pitchFamily="34" charset="0"/>
              </a:rPr>
              <a:t> per ciascuna banca</a:t>
            </a: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140C0E54-CC1A-22F8-5424-8FFE57D7F07F}"/>
              </a:ext>
            </a:extLst>
          </p:cNvPr>
          <p:cNvSpPr txBox="1"/>
          <p:nvPr/>
        </p:nvSpPr>
        <p:spPr>
          <a:xfrm>
            <a:off x="5525270" y="2137944"/>
            <a:ext cx="2783982" cy="2110222"/>
          </a:xfrm>
          <a:prstGeom prst="rect">
            <a:avLst/>
          </a:prstGeom>
          <a:noFill/>
          <a:ln w="38100">
            <a:solidFill>
              <a:srgbClr val="C4D600"/>
            </a:solidFill>
          </a:ln>
        </p:spPr>
        <p:txBody>
          <a:bodyPr wrap="square">
            <a:spAutoFit/>
          </a:bodyPr>
          <a:lstStyle/>
          <a:p>
            <a:pPr marL="360363" lvl="1" indent="-185738">
              <a:buFont typeface="Arial" panose="020B0604020202020204" pitchFamily="34" charset="0"/>
              <a:buChar char="•"/>
            </a:pP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Piattaforma 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fideiussioni digitali</a:t>
            </a:r>
          </a:p>
          <a:p>
            <a:pPr marL="360363" lvl="1" indent="-185738">
              <a:buFont typeface="Arial" panose="020B0604020202020204" pitchFamily="34" charset="0"/>
              <a:buChar char="•"/>
            </a:pP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Assistenza 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su infrastruttura di rete centrale e Client </a:t>
            </a:r>
            <a:r>
              <a:rPr lang="it-IT" sz="1400" dirty="0" err="1">
                <a:latin typeface="Arial" panose="020B0604020202020204" pitchFamily="34" charset="0"/>
                <a:cs typeface="Arial" panose="020B0604020202020204" pitchFamily="34" charset="0"/>
              </a:rPr>
              <a:t>Algorand</a:t>
            </a:r>
            <a:endParaRPr lang="it-IT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363" lvl="1" indent="-185738">
              <a:buFont typeface="Arial" panose="020B0604020202020204" pitchFamily="34" charset="0"/>
              <a:buChar char="•"/>
            </a:pP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Assistenza 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su Componenti Applicativo</a:t>
            </a:r>
          </a:p>
          <a:p>
            <a:pPr marL="360363" lvl="1" indent="-185738">
              <a:buFont typeface="Arial" panose="020B0604020202020204" pitchFamily="34" charset="0"/>
              <a:buChar char="•"/>
            </a:pP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Raccolta richieste di evolutive</a:t>
            </a:r>
            <a:endParaRPr lang="it-IT" sz="1400" dirty="0"/>
          </a:p>
        </p:txBody>
      </p:sp>
      <p:grpSp>
        <p:nvGrpSpPr>
          <p:cNvPr id="11" name="Group 8">
            <a:extLst>
              <a:ext uri="{FF2B5EF4-FFF2-40B4-BE49-F238E27FC236}">
                <a16:creationId xmlns:a16="http://schemas.microsoft.com/office/drawing/2014/main" id="{FCC178DF-6D77-0C7C-393C-A2E1F598BF3E}"/>
              </a:ext>
            </a:extLst>
          </p:cNvPr>
          <p:cNvGrpSpPr/>
          <p:nvPr/>
        </p:nvGrpSpPr>
        <p:grpSpPr>
          <a:xfrm>
            <a:off x="7224398" y="4998235"/>
            <a:ext cx="938413" cy="823465"/>
            <a:chOff x="485157" y="2217534"/>
            <a:chExt cx="553212" cy="553212"/>
          </a:xfrm>
        </p:grpSpPr>
        <p:sp>
          <p:nvSpPr>
            <p:cNvPr id="12" name="Flowchart: Connector 1">
              <a:extLst>
                <a:ext uri="{FF2B5EF4-FFF2-40B4-BE49-F238E27FC236}">
                  <a16:creationId xmlns:a16="http://schemas.microsoft.com/office/drawing/2014/main" id="{A9478C72-8FF3-6AFF-9DC9-0AF1F7A2FAFB}"/>
                </a:ext>
              </a:extLst>
            </p:cNvPr>
            <p:cNvSpPr/>
            <p:nvPr/>
          </p:nvSpPr>
          <p:spPr>
            <a:xfrm>
              <a:off x="485157" y="2217534"/>
              <a:ext cx="553212" cy="553212"/>
            </a:xfrm>
            <a:prstGeom prst="flowChartConnector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Freeform 247">
              <a:extLst>
                <a:ext uri="{FF2B5EF4-FFF2-40B4-BE49-F238E27FC236}">
                  <a16:creationId xmlns:a16="http://schemas.microsoft.com/office/drawing/2014/main" id="{D2F8D171-B389-39F0-781C-4C73EF8A50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0962" y="2324422"/>
              <a:ext cx="341602" cy="339436"/>
            </a:xfrm>
            <a:custGeom>
              <a:avLst/>
              <a:gdLst/>
              <a:ahLst/>
              <a:cxnLst>
                <a:cxn ang="0">
                  <a:pos x="1268" y="961"/>
                </a:cxn>
                <a:cxn ang="0">
                  <a:pos x="1305" y="411"/>
                </a:cxn>
                <a:cxn ang="0">
                  <a:pos x="1333" y="216"/>
                </a:cxn>
                <a:cxn ang="0">
                  <a:pos x="53" y="285"/>
                </a:cxn>
                <a:cxn ang="0">
                  <a:pos x="165" y="576"/>
                </a:cxn>
                <a:cxn ang="0">
                  <a:pos x="42" y="1121"/>
                </a:cxn>
                <a:cxn ang="0">
                  <a:pos x="1358" y="1317"/>
                </a:cxn>
                <a:cxn ang="0">
                  <a:pos x="202" y="447"/>
                </a:cxn>
                <a:cxn ang="0">
                  <a:pos x="132" y="374"/>
                </a:cxn>
                <a:cxn ang="0">
                  <a:pos x="1216" y="374"/>
                </a:cxn>
                <a:cxn ang="0">
                  <a:pos x="1208" y="375"/>
                </a:cxn>
                <a:cxn ang="0">
                  <a:pos x="1204" y="376"/>
                </a:cxn>
                <a:cxn ang="0">
                  <a:pos x="1200" y="377"/>
                </a:cxn>
                <a:cxn ang="0">
                  <a:pos x="1196" y="379"/>
                </a:cxn>
                <a:cxn ang="0">
                  <a:pos x="1192" y="382"/>
                </a:cxn>
                <a:cxn ang="0">
                  <a:pos x="1189" y="385"/>
                </a:cxn>
                <a:cxn ang="0">
                  <a:pos x="1185" y="390"/>
                </a:cxn>
                <a:cxn ang="0">
                  <a:pos x="1183" y="394"/>
                </a:cxn>
                <a:cxn ang="0">
                  <a:pos x="1181" y="397"/>
                </a:cxn>
                <a:cxn ang="0">
                  <a:pos x="1127" y="559"/>
                </a:cxn>
                <a:cxn ang="0">
                  <a:pos x="1036" y="559"/>
                </a:cxn>
                <a:cxn ang="0">
                  <a:pos x="948" y="374"/>
                </a:cxn>
                <a:cxn ang="0">
                  <a:pos x="810" y="374"/>
                </a:cxn>
                <a:cxn ang="0">
                  <a:pos x="805" y="375"/>
                </a:cxn>
                <a:cxn ang="0">
                  <a:pos x="802" y="377"/>
                </a:cxn>
                <a:cxn ang="0">
                  <a:pos x="797" y="379"/>
                </a:cxn>
                <a:cxn ang="0">
                  <a:pos x="793" y="381"/>
                </a:cxn>
                <a:cxn ang="0">
                  <a:pos x="790" y="384"/>
                </a:cxn>
                <a:cxn ang="0">
                  <a:pos x="786" y="389"/>
                </a:cxn>
                <a:cxn ang="0">
                  <a:pos x="783" y="392"/>
                </a:cxn>
                <a:cxn ang="0">
                  <a:pos x="782" y="396"/>
                </a:cxn>
                <a:cxn ang="0">
                  <a:pos x="780" y="399"/>
                </a:cxn>
                <a:cxn ang="0">
                  <a:pos x="638" y="961"/>
                </a:cxn>
                <a:cxn ang="0">
                  <a:pos x="665" y="411"/>
                </a:cxn>
                <a:cxn ang="0">
                  <a:pos x="415" y="374"/>
                </a:cxn>
                <a:cxn ang="0">
                  <a:pos x="411" y="374"/>
                </a:cxn>
                <a:cxn ang="0">
                  <a:pos x="407" y="375"/>
                </a:cxn>
                <a:cxn ang="0">
                  <a:pos x="403" y="376"/>
                </a:cxn>
                <a:cxn ang="0">
                  <a:pos x="399" y="378"/>
                </a:cxn>
                <a:cxn ang="0">
                  <a:pos x="395" y="380"/>
                </a:cxn>
                <a:cxn ang="0">
                  <a:pos x="392" y="382"/>
                </a:cxn>
                <a:cxn ang="0">
                  <a:pos x="388" y="386"/>
                </a:cxn>
                <a:cxn ang="0">
                  <a:pos x="386" y="389"/>
                </a:cxn>
                <a:cxn ang="0">
                  <a:pos x="383" y="393"/>
                </a:cxn>
                <a:cxn ang="0">
                  <a:pos x="381" y="397"/>
                </a:cxn>
                <a:cxn ang="0">
                  <a:pos x="380" y="400"/>
                </a:cxn>
                <a:cxn ang="0">
                  <a:pos x="238" y="570"/>
                </a:cxn>
                <a:cxn ang="0">
                  <a:pos x="965" y="576"/>
                </a:cxn>
                <a:cxn ang="0">
                  <a:pos x="441" y="447"/>
                </a:cxn>
                <a:cxn ang="0">
                  <a:pos x="398" y="576"/>
                </a:cxn>
                <a:cxn ang="0">
                  <a:pos x="1038" y="1157"/>
                </a:cxn>
                <a:cxn ang="0">
                  <a:pos x="1232" y="1157"/>
                </a:cxn>
              </a:cxnLst>
              <a:rect l="0" t="0" r="r" b="b"/>
              <a:pathLst>
                <a:path w="1363" h="1354">
                  <a:moveTo>
                    <a:pt x="1322" y="1121"/>
                  </a:moveTo>
                  <a:cubicBezTo>
                    <a:pt x="1305" y="1121"/>
                    <a:pt x="1305" y="1121"/>
                    <a:pt x="1305" y="1121"/>
                  </a:cubicBezTo>
                  <a:cubicBezTo>
                    <a:pt x="1305" y="997"/>
                    <a:pt x="1305" y="997"/>
                    <a:pt x="1305" y="997"/>
                  </a:cubicBezTo>
                  <a:cubicBezTo>
                    <a:pt x="1305" y="988"/>
                    <a:pt x="1301" y="978"/>
                    <a:pt x="1294" y="971"/>
                  </a:cubicBezTo>
                  <a:cubicBezTo>
                    <a:pt x="1287" y="965"/>
                    <a:pt x="1278" y="961"/>
                    <a:pt x="1268" y="961"/>
                  </a:cubicBezTo>
                  <a:cubicBezTo>
                    <a:pt x="1198" y="961"/>
                    <a:pt x="1198" y="961"/>
                    <a:pt x="1198" y="961"/>
                  </a:cubicBezTo>
                  <a:cubicBezTo>
                    <a:pt x="1198" y="576"/>
                    <a:pt x="1198" y="576"/>
                    <a:pt x="1198" y="576"/>
                  </a:cubicBezTo>
                  <a:cubicBezTo>
                    <a:pt x="1241" y="447"/>
                    <a:pt x="1241" y="447"/>
                    <a:pt x="1241" y="447"/>
                  </a:cubicBezTo>
                  <a:cubicBezTo>
                    <a:pt x="1268" y="447"/>
                    <a:pt x="1268" y="447"/>
                    <a:pt x="1268" y="447"/>
                  </a:cubicBezTo>
                  <a:cubicBezTo>
                    <a:pt x="1289" y="447"/>
                    <a:pt x="1305" y="431"/>
                    <a:pt x="1305" y="411"/>
                  </a:cubicBezTo>
                  <a:cubicBezTo>
                    <a:pt x="1305" y="284"/>
                    <a:pt x="1305" y="284"/>
                    <a:pt x="1305" y="284"/>
                  </a:cubicBezTo>
                  <a:cubicBezTo>
                    <a:pt x="1310" y="285"/>
                    <a:pt x="1310" y="285"/>
                    <a:pt x="1310" y="285"/>
                  </a:cubicBezTo>
                  <a:cubicBezTo>
                    <a:pt x="1314" y="287"/>
                    <a:pt x="1318" y="287"/>
                    <a:pt x="1322" y="287"/>
                  </a:cubicBezTo>
                  <a:cubicBezTo>
                    <a:pt x="1337" y="287"/>
                    <a:pt x="1351" y="278"/>
                    <a:pt x="1356" y="262"/>
                  </a:cubicBezTo>
                  <a:cubicBezTo>
                    <a:pt x="1363" y="243"/>
                    <a:pt x="1352" y="222"/>
                    <a:pt x="1333" y="216"/>
                  </a:cubicBezTo>
                  <a:cubicBezTo>
                    <a:pt x="693" y="3"/>
                    <a:pt x="693" y="3"/>
                    <a:pt x="693" y="3"/>
                  </a:cubicBezTo>
                  <a:cubicBezTo>
                    <a:pt x="686" y="0"/>
                    <a:pt x="678" y="0"/>
                    <a:pt x="670" y="3"/>
                  </a:cubicBezTo>
                  <a:cubicBezTo>
                    <a:pt x="30" y="216"/>
                    <a:pt x="30" y="216"/>
                    <a:pt x="30" y="216"/>
                  </a:cubicBezTo>
                  <a:cubicBezTo>
                    <a:pt x="11" y="222"/>
                    <a:pt x="0" y="243"/>
                    <a:pt x="7" y="262"/>
                  </a:cubicBezTo>
                  <a:cubicBezTo>
                    <a:pt x="13" y="281"/>
                    <a:pt x="34" y="292"/>
                    <a:pt x="53" y="285"/>
                  </a:cubicBezTo>
                  <a:cubicBezTo>
                    <a:pt x="58" y="284"/>
                    <a:pt x="58" y="284"/>
                    <a:pt x="58" y="284"/>
                  </a:cubicBezTo>
                  <a:cubicBezTo>
                    <a:pt x="58" y="411"/>
                    <a:pt x="58" y="411"/>
                    <a:pt x="58" y="411"/>
                  </a:cubicBezTo>
                  <a:cubicBezTo>
                    <a:pt x="58" y="431"/>
                    <a:pt x="75" y="447"/>
                    <a:pt x="95" y="447"/>
                  </a:cubicBezTo>
                  <a:cubicBezTo>
                    <a:pt x="122" y="447"/>
                    <a:pt x="122" y="447"/>
                    <a:pt x="122" y="447"/>
                  </a:cubicBezTo>
                  <a:cubicBezTo>
                    <a:pt x="165" y="576"/>
                    <a:pt x="165" y="576"/>
                    <a:pt x="165" y="576"/>
                  </a:cubicBezTo>
                  <a:cubicBezTo>
                    <a:pt x="165" y="961"/>
                    <a:pt x="165" y="961"/>
                    <a:pt x="165" y="961"/>
                  </a:cubicBezTo>
                  <a:cubicBezTo>
                    <a:pt x="95" y="961"/>
                    <a:pt x="95" y="961"/>
                    <a:pt x="95" y="961"/>
                  </a:cubicBezTo>
                  <a:cubicBezTo>
                    <a:pt x="75" y="961"/>
                    <a:pt x="58" y="977"/>
                    <a:pt x="58" y="997"/>
                  </a:cubicBezTo>
                  <a:cubicBezTo>
                    <a:pt x="58" y="1121"/>
                    <a:pt x="58" y="1121"/>
                    <a:pt x="58" y="1121"/>
                  </a:cubicBezTo>
                  <a:cubicBezTo>
                    <a:pt x="42" y="1121"/>
                    <a:pt x="42" y="1121"/>
                    <a:pt x="42" y="1121"/>
                  </a:cubicBezTo>
                  <a:cubicBezTo>
                    <a:pt x="21" y="1121"/>
                    <a:pt x="5" y="1137"/>
                    <a:pt x="5" y="1157"/>
                  </a:cubicBezTo>
                  <a:cubicBezTo>
                    <a:pt x="5" y="1317"/>
                    <a:pt x="5" y="1317"/>
                    <a:pt x="5" y="1317"/>
                  </a:cubicBezTo>
                  <a:cubicBezTo>
                    <a:pt x="5" y="1338"/>
                    <a:pt x="21" y="1354"/>
                    <a:pt x="42" y="1354"/>
                  </a:cubicBezTo>
                  <a:cubicBezTo>
                    <a:pt x="1322" y="1354"/>
                    <a:pt x="1322" y="1354"/>
                    <a:pt x="1322" y="1354"/>
                  </a:cubicBezTo>
                  <a:cubicBezTo>
                    <a:pt x="1342" y="1354"/>
                    <a:pt x="1358" y="1338"/>
                    <a:pt x="1358" y="1317"/>
                  </a:cubicBezTo>
                  <a:cubicBezTo>
                    <a:pt x="1358" y="1157"/>
                    <a:pt x="1358" y="1157"/>
                    <a:pt x="1358" y="1157"/>
                  </a:cubicBezTo>
                  <a:cubicBezTo>
                    <a:pt x="1358" y="1137"/>
                    <a:pt x="1342" y="1121"/>
                    <a:pt x="1322" y="1121"/>
                  </a:cubicBezTo>
                  <a:close/>
                  <a:moveTo>
                    <a:pt x="236" y="559"/>
                  </a:moveTo>
                  <a:cubicBezTo>
                    <a:pt x="199" y="447"/>
                    <a:pt x="199" y="447"/>
                    <a:pt x="199" y="447"/>
                  </a:cubicBezTo>
                  <a:cubicBezTo>
                    <a:pt x="202" y="447"/>
                    <a:pt x="202" y="447"/>
                    <a:pt x="202" y="447"/>
                  </a:cubicBezTo>
                  <a:cubicBezTo>
                    <a:pt x="222" y="447"/>
                    <a:pt x="238" y="431"/>
                    <a:pt x="238" y="411"/>
                  </a:cubicBezTo>
                  <a:cubicBezTo>
                    <a:pt x="238" y="390"/>
                    <a:pt x="222" y="374"/>
                    <a:pt x="202" y="374"/>
                  </a:cubicBezTo>
                  <a:cubicBezTo>
                    <a:pt x="148" y="374"/>
                    <a:pt x="148" y="374"/>
                    <a:pt x="148" y="374"/>
                  </a:cubicBezTo>
                  <a:cubicBezTo>
                    <a:pt x="148" y="374"/>
                    <a:pt x="148" y="374"/>
                    <a:pt x="148" y="374"/>
                  </a:cubicBezTo>
                  <a:cubicBezTo>
                    <a:pt x="132" y="374"/>
                    <a:pt x="132" y="374"/>
                    <a:pt x="132" y="374"/>
                  </a:cubicBezTo>
                  <a:cubicBezTo>
                    <a:pt x="132" y="259"/>
                    <a:pt x="132" y="259"/>
                    <a:pt x="132" y="259"/>
                  </a:cubicBezTo>
                  <a:cubicBezTo>
                    <a:pt x="682" y="76"/>
                    <a:pt x="682" y="76"/>
                    <a:pt x="682" y="76"/>
                  </a:cubicBezTo>
                  <a:cubicBezTo>
                    <a:pt x="1232" y="259"/>
                    <a:pt x="1232" y="259"/>
                    <a:pt x="1232" y="259"/>
                  </a:cubicBezTo>
                  <a:cubicBezTo>
                    <a:pt x="1232" y="374"/>
                    <a:pt x="1232" y="374"/>
                    <a:pt x="1232" y="374"/>
                  </a:cubicBezTo>
                  <a:cubicBezTo>
                    <a:pt x="1216" y="374"/>
                    <a:pt x="1216" y="374"/>
                    <a:pt x="1216" y="374"/>
                  </a:cubicBezTo>
                  <a:cubicBezTo>
                    <a:pt x="1214" y="374"/>
                    <a:pt x="1213" y="374"/>
                    <a:pt x="1211" y="374"/>
                  </a:cubicBezTo>
                  <a:cubicBezTo>
                    <a:pt x="1211" y="374"/>
                    <a:pt x="1211" y="374"/>
                    <a:pt x="1211" y="374"/>
                  </a:cubicBezTo>
                  <a:cubicBezTo>
                    <a:pt x="1211" y="374"/>
                    <a:pt x="1210" y="374"/>
                    <a:pt x="1210" y="374"/>
                  </a:cubicBezTo>
                  <a:cubicBezTo>
                    <a:pt x="1209" y="374"/>
                    <a:pt x="1209" y="374"/>
                    <a:pt x="1209" y="374"/>
                  </a:cubicBezTo>
                  <a:cubicBezTo>
                    <a:pt x="1209" y="375"/>
                    <a:pt x="1208" y="375"/>
                    <a:pt x="1208" y="375"/>
                  </a:cubicBezTo>
                  <a:cubicBezTo>
                    <a:pt x="1208" y="375"/>
                    <a:pt x="1208" y="375"/>
                    <a:pt x="1207" y="375"/>
                  </a:cubicBezTo>
                  <a:cubicBezTo>
                    <a:pt x="1207" y="375"/>
                    <a:pt x="1207" y="375"/>
                    <a:pt x="1206" y="375"/>
                  </a:cubicBezTo>
                  <a:cubicBezTo>
                    <a:pt x="1206" y="375"/>
                    <a:pt x="1206" y="375"/>
                    <a:pt x="1205" y="375"/>
                  </a:cubicBezTo>
                  <a:cubicBezTo>
                    <a:pt x="1205" y="375"/>
                    <a:pt x="1205" y="375"/>
                    <a:pt x="1205" y="375"/>
                  </a:cubicBezTo>
                  <a:cubicBezTo>
                    <a:pt x="1204" y="376"/>
                    <a:pt x="1204" y="376"/>
                    <a:pt x="1204" y="376"/>
                  </a:cubicBezTo>
                  <a:cubicBezTo>
                    <a:pt x="1204" y="376"/>
                    <a:pt x="1203" y="376"/>
                    <a:pt x="1203" y="376"/>
                  </a:cubicBezTo>
                  <a:cubicBezTo>
                    <a:pt x="1203" y="376"/>
                    <a:pt x="1202" y="376"/>
                    <a:pt x="1202" y="376"/>
                  </a:cubicBezTo>
                  <a:cubicBezTo>
                    <a:pt x="1202" y="376"/>
                    <a:pt x="1202" y="376"/>
                    <a:pt x="1202" y="377"/>
                  </a:cubicBezTo>
                  <a:cubicBezTo>
                    <a:pt x="1201" y="377"/>
                    <a:pt x="1201" y="377"/>
                    <a:pt x="1200" y="377"/>
                  </a:cubicBezTo>
                  <a:cubicBezTo>
                    <a:pt x="1200" y="377"/>
                    <a:pt x="1200" y="377"/>
                    <a:pt x="1200" y="377"/>
                  </a:cubicBezTo>
                  <a:cubicBezTo>
                    <a:pt x="1200" y="377"/>
                    <a:pt x="1199" y="378"/>
                    <a:pt x="1199" y="378"/>
                  </a:cubicBezTo>
                  <a:cubicBezTo>
                    <a:pt x="1199" y="378"/>
                    <a:pt x="1199" y="378"/>
                    <a:pt x="1198" y="378"/>
                  </a:cubicBezTo>
                  <a:cubicBezTo>
                    <a:pt x="1198" y="378"/>
                    <a:pt x="1198" y="378"/>
                    <a:pt x="1197" y="379"/>
                  </a:cubicBezTo>
                  <a:cubicBezTo>
                    <a:pt x="1197" y="379"/>
                    <a:pt x="1197" y="379"/>
                    <a:pt x="1197" y="379"/>
                  </a:cubicBezTo>
                  <a:cubicBezTo>
                    <a:pt x="1196" y="379"/>
                    <a:pt x="1196" y="379"/>
                    <a:pt x="1196" y="379"/>
                  </a:cubicBezTo>
                  <a:cubicBezTo>
                    <a:pt x="1196" y="380"/>
                    <a:pt x="1195" y="380"/>
                    <a:pt x="1195" y="380"/>
                  </a:cubicBezTo>
                  <a:cubicBezTo>
                    <a:pt x="1195" y="380"/>
                    <a:pt x="1195" y="380"/>
                    <a:pt x="1194" y="380"/>
                  </a:cubicBezTo>
                  <a:cubicBezTo>
                    <a:pt x="1194" y="381"/>
                    <a:pt x="1194" y="381"/>
                    <a:pt x="1194" y="381"/>
                  </a:cubicBezTo>
                  <a:cubicBezTo>
                    <a:pt x="1193" y="381"/>
                    <a:pt x="1193" y="381"/>
                    <a:pt x="1193" y="381"/>
                  </a:cubicBezTo>
                  <a:cubicBezTo>
                    <a:pt x="1193" y="382"/>
                    <a:pt x="1192" y="382"/>
                    <a:pt x="1192" y="382"/>
                  </a:cubicBezTo>
                  <a:cubicBezTo>
                    <a:pt x="1192" y="382"/>
                    <a:pt x="1192" y="382"/>
                    <a:pt x="1192" y="382"/>
                  </a:cubicBezTo>
                  <a:cubicBezTo>
                    <a:pt x="1191" y="383"/>
                    <a:pt x="1191" y="383"/>
                    <a:pt x="1190" y="383"/>
                  </a:cubicBezTo>
                  <a:cubicBezTo>
                    <a:pt x="1190" y="383"/>
                    <a:pt x="1190" y="384"/>
                    <a:pt x="1190" y="384"/>
                  </a:cubicBezTo>
                  <a:cubicBezTo>
                    <a:pt x="1190" y="384"/>
                    <a:pt x="1189" y="384"/>
                    <a:pt x="1189" y="385"/>
                  </a:cubicBezTo>
                  <a:cubicBezTo>
                    <a:pt x="1189" y="385"/>
                    <a:pt x="1189" y="385"/>
                    <a:pt x="1189" y="385"/>
                  </a:cubicBezTo>
                  <a:cubicBezTo>
                    <a:pt x="1188" y="386"/>
                    <a:pt x="1187" y="386"/>
                    <a:pt x="1187" y="387"/>
                  </a:cubicBezTo>
                  <a:cubicBezTo>
                    <a:pt x="1187" y="387"/>
                    <a:pt x="1187" y="387"/>
                    <a:pt x="1187" y="387"/>
                  </a:cubicBezTo>
                  <a:cubicBezTo>
                    <a:pt x="1186" y="388"/>
                    <a:pt x="1186" y="388"/>
                    <a:pt x="1186" y="389"/>
                  </a:cubicBezTo>
                  <a:cubicBezTo>
                    <a:pt x="1186" y="389"/>
                    <a:pt x="1186" y="389"/>
                    <a:pt x="1186" y="389"/>
                  </a:cubicBezTo>
                  <a:cubicBezTo>
                    <a:pt x="1185" y="389"/>
                    <a:pt x="1185" y="390"/>
                    <a:pt x="1185" y="390"/>
                  </a:cubicBezTo>
                  <a:cubicBezTo>
                    <a:pt x="1185" y="390"/>
                    <a:pt x="1185" y="390"/>
                    <a:pt x="1185" y="390"/>
                  </a:cubicBezTo>
                  <a:cubicBezTo>
                    <a:pt x="1184" y="391"/>
                    <a:pt x="1184" y="391"/>
                    <a:pt x="1184" y="391"/>
                  </a:cubicBezTo>
                  <a:cubicBezTo>
                    <a:pt x="1184" y="392"/>
                    <a:pt x="1184" y="392"/>
                    <a:pt x="1183" y="392"/>
                  </a:cubicBezTo>
                  <a:cubicBezTo>
                    <a:pt x="1183" y="392"/>
                    <a:pt x="1183" y="392"/>
                    <a:pt x="1183" y="393"/>
                  </a:cubicBezTo>
                  <a:cubicBezTo>
                    <a:pt x="1183" y="393"/>
                    <a:pt x="1183" y="393"/>
                    <a:pt x="1183" y="394"/>
                  </a:cubicBezTo>
                  <a:cubicBezTo>
                    <a:pt x="1182" y="394"/>
                    <a:pt x="1182" y="394"/>
                    <a:pt x="1182" y="394"/>
                  </a:cubicBezTo>
                  <a:cubicBezTo>
                    <a:pt x="1182" y="395"/>
                    <a:pt x="1182" y="395"/>
                    <a:pt x="1182" y="395"/>
                  </a:cubicBezTo>
                  <a:cubicBezTo>
                    <a:pt x="1182" y="395"/>
                    <a:pt x="1182" y="396"/>
                    <a:pt x="1182" y="396"/>
                  </a:cubicBezTo>
                  <a:cubicBezTo>
                    <a:pt x="1181" y="396"/>
                    <a:pt x="1181" y="397"/>
                    <a:pt x="1181" y="397"/>
                  </a:cubicBezTo>
                  <a:cubicBezTo>
                    <a:pt x="1181" y="397"/>
                    <a:pt x="1181" y="397"/>
                    <a:pt x="1181" y="397"/>
                  </a:cubicBezTo>
                  <a:cubicBezTo>
                    <a:pt x="1181" y="398"/>
                    <a:pt x="1180" y="398"/>
                    <a:pt x="1180" y="399"/>
                  </a:cubicBezTo>
                  <a:cubicBezTo>
                    <a:pt x="1180" y="399"/>
                    <a:pt x="1180" y="399"/>
                    <a:pt x="1180" y="399"/>
                  </a:cubicBezTo>
                  <a:cubicBezTo>
                    <a:pt x="1180" y="399"/>
                    <a:pt x="1180" y="399"/>
                    <a:pt x="1180" y="399"/>
                  </a:cubicBezTo>
                  <a:cubicBezTo>
                    <a:pt x="1180" y="399"/>
                    <a:pt x="1180" y="400"/>
                    <a:pt x="1180" y="400"/>
                  </a:cubicBezTo>
                  <a:cubicBezTo>
                    <a:pt x="1127" y="559"/>
                    <a:pt x="1127" y="559"/>
                    <a:pt x="1127" y="559"/>
                  </a:cubicBezTo>
                  <a:cubicBezTo>
                    <a:pt x="1126" y="563"/>
                    <a:pt x="1125" y="567"/>
                    <a:pt x="1125" y="570"/>
                  </a:cubicBezTo>
                  <a:cubicBezTo>
                    <a:pt x="1125" y="961"/>
                    <a:pt x="1125" y="961"/>
                    <a:pt x="1125" y="961"/>
                  </a:cubicBezTo>
                  <a:cubicBezTo>
                    <a:pt x="1038" y="961"/>
                    <a:pt x="1038" y="961"/>
                    <a:pt x="1038" y="961"/>
                  </a:cubicBezTo>
                  <a:cubicBezTo>
                    <a:pt x="1038" y="570"/>
                    <a:pt x="1038" y="570"/>
                    <a:pt x="1038" y="570"/>
                  </a:cubicBezTo>
                  <a:cubicBezTo>
                    <a:pt x="1038" y="567"/>
                    <a:pt x="1038" y="563"/>
                    <a:pt x="1036" y="559"/>
                  </a:cubicBezTo>
                  <a:cubicBezTo>
                    <a:pt x="999" y="447"/>
                    <a:pt x="999" y="447"/>
                    <a:pt x="999" y="447"/>
                  </a:cubicBezTo>
                  <a:cubicBezTo>
                    <a:pt x="1002" y="447"/>
                    <a:pt x="1002" y="447"/>
                    <a:pt x="1002" y="447"/>
                  </a:cubicBezTo>
                  <a:cubicBezTo>
                    <a:pt x="1022" y="447"/>
                    <a:pt x="1038" y="431"/>
                    <a:pt x="1038" y="411"/>
                  </a:cubicBezTo>
                  <a:cubicBezTo>
                    <a:pt x="1038" y="390"/>
                    <a:pt x="1022" y="374"/>
                    <a:pt x="1002" y="374"/>
                  </a:cubicBezTo>
                  <a:cubicBezTo>
                    <a:pt x="948" y="374"/>
                    <a:pt x="948" y="374"/>
                    <a:pt x="948" y="374"/>
                  </a:cubicBezTo>
                  <a:cubicBezTo>
                    <a:pt x="948" y="374"/>
                    <a:pt x="948" y="374"/>
                    <a:pt x="948" y="374"/>
                  </a:cubicBezTo>
                  <a:cubicBezTo>
                    <a:pt x="816" y="374"/>
                    <a:pt x="816" y="374"/>
                    <a:pt x="816" y="374"/>
                  </a:cubicBezTo>
                  <a:cubicBezTo>
                    <a:pt x="814" y="374"/>
                    <a:pt x="813" y="374"/>
                    <a:pt x="811" y="374"/>
                  </a:cubicBezTo>
                  <a:cubicBezTo>
                    <a:pt x="811" y="374"/>
                    <a:pt x="811" y="374"/>
                    <a:pt x="811" y="374"/>
                  </a:cubicBezTo>
                  <a:cubicBezTo>
                    <a:pt x="811" y="374"/>
                    <a:pt x="810" y="374"/>
                    <a:pt x="810" y="374"/>
                  </a:cubicBezTo>
                  <a:cubicBezTo>
                    <a:pt x="809" y="374"/>
                    <a:pt x="809" y="374"/>
                    <a:pt x="809" y="374"/>
                  </a:cubicBezTo>
                  <a:cubicBezTo>
                    <a:pt x="809" y="375"/>
                    <a:pt x="808" y="375"/>
                    <a:pt x="808" y="375"/>
                  </a:cubicBezTo>
                  <a:cubicBezTo>
                    <a:pt x="808" y="375"/>
                    <a:pt x="808" y="375"/>
                    <a:pt x="807" y="375"/>
                  </a:cubicBezTo>
                  <a:cubicBezTo>
                    <a:pt x="807" y="375"/>
                    <a:pt x="807" y="375"/>
                    <a:pt x="806" y="375"/>
                  </a:cubicBezTo>
                  <a:cubicBezTo>
                    <a:pt x="806" y="375"/>
                    <a:pt x="806" y="375"/>
                    <a:pt x="805" y="375"/>
                  </a:cubicBezTo>
                  <a:cubicBezTo>
                    <a:pt x="805" y="375"/>
                    <a:pt x="805" y="375"/>
                    <a:pt x="805" y="375"/>
                  </a:cubicBezTo>
                  <a:cubicBezTo>
                    <a:pt x="804" y="376"/>
                    <a:pt x="804" y="376"/>
                    <a:pt x="804" y="376"/>
                  </a:cubicBezTo>
                  <a:cubicBezTo>
                    <a:pt x="804" y="376"/>
                    <a:pt x="803" y="376"/>
                    <a:pt x="803" y="376"/>
                  </a:cubicBezTo>
                  <a:cubicBezTo>
                    <a:pt x="803" y="376"/>
                    <a:pt x="802" y="376"/>
                    <a:pt x="802" y="376"/>
                  </a:cubicBezTo>
                  <a:cubicBezTo>
                    <a:pt x="802" y="376"/>
                    <a:pt x="802" y="376"/>
                    <a:pt x="802" y="377"/>
                  </a:cubicBezTo>
                  <a:cubicBezTo>
                    <a:pt x="801" y="377"/>
                    <a:pt x="801" y="377"/>
                    <a:pt x="800" y="377"/>
                  </a:cubicBezTo>
                  <a:cubicBezTo>
                    <a:pt x="800" y="377"/>
                    <a:pt x="800" y="377"/>
                    <a:pt x="800" y="377"/>
                  </a:cubicBezTo>
                  <a:cubicBezTo>
                    <a:pt x="800" y="377"/>
                    <a:pt x="799" y="378"/>
                    <a:pt x="799" y="378"/>
                  </a:cubicBezTo>
                  <a:cubicBezTo>
                    <a:pt x="799" y="378"/>
                    <a:pt x="799" y="378"/>
                    <a:pt x="798" y="378"/>
                  </a:cubicBezTo>
                  <a:cubicBezTo>
                    <a:pt x="798" y="378"/>
                    <a:pt x="798" y="378"/>
                    <a:pt x="797" y="379"/>
                  </a:cubicBezTo>
                  <a:cubicBezTo>
                    <a:pt x="797" y="379"/>
                    <a:pt x="797" y="379"/>
                    <a:pt x="797" y="379"/>
                  </a:cubicBezTo>
                  <a:cubicBezTo>
                    <a:pt x="796" y="379"/>
                    <a:pt x="796" y="379"/>
                    <a:pt x="796" y="379"/>
                  </a:cubicBezTo>
                  <a:cubicBezTo>
                    <a:pt x="796" y="380"/>
                    <a:pt x="795" y="380"/>
                    <a:pt x="795" y="380"/>
                  </a:cubicBezTo>
                  <a:cubicBezTo>
                    <a:pt x="795" y="380"/>
                    <a:pt x="795" y="380"/>
                    <a:pt x="794" y="380"/>
                  </a:cubicBezTo>
                  <a:cubicBezTo>
                    <a:pt x="794" y="381"/>
                    <a:pt x="794" y="381"/>
                    <a:pt x="793" y="381"/>
                  </a:cubicBezTo>
                  <a:cubicBezTo>
                    <a:pt x="793" y="381"/>
                    <a:pt x="793" y="381"/>
                    <a:pt x="793" y="381"/>
                  </a:cubicBezTo>
                  <a:cubicBezTo>
                    <a:pt x="793" y="382"/>
                    <a:pt x="792" y="382"/>
                    <a:pt x="792" y="382"/>
                  </a:cubicBezTo>
                  <a:cubicBezTo>
                    <a:pt x="792" y="382"/>
                    <a:pt x="792" y="382"/>
                    <a:pt x="792" y="382"/>
                  </a:cubicBezTo>
                  <a:cubicBezTo>
                    <a:pt x="791" y="383"/>
                    <a:pt x="791" y="383"/>
                    <a:pt x="790" y="383"/>
                  </a:cubicBezTo>
                  <a:cubicBezTo>
                    <a:pt x="790" y="383"/>
                    <a:pt x="790" y="384"/>
                    <a:pt x="790" y="384"/>
                  </a:cubicBezTo>
                  <a:cubicBezTo>
                    <a:pt x="790" y="384"/>
                    <a:pt x="789" y="384"/>
                    <a:pt x="789" y="385"/>
                  </a:cubicBezTo>
                  <a:cubicBezTo>
                    <a:pt x="789" y="385"/>
                    <a:pt x="789" y="385"/>
                    <a:pt x="789" y="385"/>
                  </a:cubicBezTo>
                  <a:cubicBezTo>
                    <a:pt x="788" y="386"/>
                    <a:pt x="787" y="386"/>
                    <a:pt x="787" y="387"/>
                  </a:cubicBezTo>
                  <a:cubicBezTo>
                    <a:pt x="787" y="387"/>
                    <a:pt x="787" y="387"/>
                    <a:pt x="787" y="387"/>
                  </a:cubicBezTo>
                  <a:cubicBezTo>
                    <a:pt x="786" y="388"/>
                    <a:pt x="786" y="388"/>
                    <a:pt x="786" y="389"/>
                  </a:cubicBezTo>
                  <a:cubicBezTo>
                    <a:pt x="786" y="389"/>
                    <a:pt x="786" y="389"/>
                    <a:pt x="786" y="389"/>
                  </a:cubicBezTo>
                  <a:cubicBezTo>
                    <a:pt x="785" y="389"/>
                    <a:pt x="785" y="390"/>
                    <a:pt x="785" y="390"/>
                  </a:cubicBezTo>
                  <a:cubicBezTo>
                    <a:pt x="785" y="390"/>
                    <a:pt x="785" y="390"/>
                    <a:pt x="785" y="390"/>
                  </a:cubicBezTo>
                  <a:cubicBezTo>
                    <a:pt x="784" y="391"/>
                    <a:pt x="784" y="391"/>
                    <a:pt x="784" y="391"/>
                  </a:cubicBezTo>
                  <a:cubicBezTo>
                    <a:pt x="784" y="392"/>
                    <a:pt x="784" y="392"/>
                    <a:pt x="783" y="392"/>
                  </a:cubicBezTo>
                  <a:cubicBezTo>
                    <a:pt x="783" y="392"/>
                    <a:pt x="783" y="392"/>
                    <a:pt x="783" y="393"/>
                  </a:cubicBezTo>
                  <a:cubicBezTo>
                    <a:pt x="783" y="393"/>
                    <a:pt x="783" y="393"/>
                    <a:pt x="783" y="394"/>
                  </a:cubicBezTo>
                  <a:cubicBezTo>
                    <a:pt x="782" y="394"/>
                    <a:pt x="782" y="394"/>
                    <a:pt x="782" y="394"/>
                  </a:cubicBezTo>
                  <a:cubicBezTo>
                    <a:pt x="782" y="395"/>
                    <a:pt x="782" y="395"/>
                    <a:pt x="782" y="395"/>
                  </a:cubicBezTo>
                  <a:cubicBezTo>
                    <a:pt x="782" y="395"/>
                    <a:pt x="782" y="396"/>
                    <a:pt x="782" y="396"/>
                  </a:cubicBezTo>
                  <a:cubicBezTo>
                    <a:pt x="781" y="396"/>
                    <a:pt x="781" y="397"/>
                    <a:pt x="781" y="397"/>
                  </a:cubicBezTo>
                  <a:cubicBezTo>
                    <a:pt x="781" y="397"/>
                    <a:pt x="781" y="397"/>
                    <a:pt x="781" y="397"/>
                  </a:cubicBezTo>
                  <a:cubicBezTo>
                    <a:pt x="781" y="398"/>
                    <a:pt x="780" y="398"/>
                    <a:pt x="780" y="399"/>
                  </a:cubicBezTo>
                  <a:cubicBezTo>
                    <a:pt x="780" y="399"/>
                    <a:pt x="780" y="399"/>
                    <a:pt x="780" y="399"/>
                  </a:cubicBezTo>
                  <a:cubicBezTo>
                    <a:pt x="780" y="399"/>
                    <a:pt x="780" y="399"/>
                    <a:pt x="780" y="399"/>
                  </a:cubicBezTo>
                  <a:cubicBezTo>
                    <a:pt x="780" y="399"/>
                    <a:pt x="780" y="400"/>
                    <a:pt x="780" y="400"/>
                  </a:cubicBezTo>
                  <a:cubicBezTo>
                    <a:pt x="727" y="559"/>
                    <a:pt x="727" y="559"/>
                    <a:pt x="727" y="559"/>
                  </a:cubicBezTo>
                  <a:cubicBezTo>
                    <a:pt x="726" y="563"/>
                    <a:pt x="725" y="567"/>
                    <a:pt x="725" y="570"/>
                  </a:cubicBezTo>
                  <a:cubicBezTo>
                    <a:pt x="725" y="961"/>
                    <a:pt x="725" y="961"/>
                    <a:pt x="725" y="961"/>
                  </a:cubicBezTo>
                  <a:cubicBezTo>
                    <a:pt x="638" y="961"/>
                    <a:pt x="638" y="961"/>
                    <a:pt x="638" y="961"/>
                  </a:cubicBezTo>
                  <a:cubicBezTo>
                    <a:pt x="638" y="570"/>
                    <a:pt x="638" y="570"/>
                    <a:pt x="638" y="570"/>
                  </a:cubicBezTo>
                  <a:cubicBezTo>
                    <a:pt x="638" y="567"/>
                    <a:pt x="638" y="563"/>
                    <a:pt x="636" y="559"/>
                  </a:cubicBezTo>
                  <a:cubicBezTo>
                    <a:pt x="599" y="447"/>
                    <a:pt x="599" y="447"/>
                    <a:pt x="599" y="447"/>
                  </a:cubicBezTo>
                  <a:cubicBezTo>
                    <a:pt x="628" y="447"/>
                    <a:pt x="628" y="447"/>
                    <a:pt x="628" y="447"/>
                  </a:cubicBezTo>
                  <a:cubicBezTo>
                    <a:pt x="649" y="447"/>
                    <a:pt x="665" y="431"/>
                    <a:pt x="665" y="411"/>
                  </a:cubicBezTo>
                  <a:cubicBezTo>
                    <a:pt x="665" y="390"/>
                    <a:pt x="649" y="374"/>
                    <a:pt x="628" y="374"/>
                  </a:cubicBezTo>
                  <a:cubicBezTo>
                    <a:pt x="548" y="374"/>
                    <a:pt x="548" y="374"/>
                    <a:pt x="548" y="374"/>
                  </a:cubicBezTo>
                  <a:cubicBezTo>
                    <a:pt x="548" y="374"/>
                    <a:pt x="548" y="374"/>
                    <a:pt x="548" y="374"/>
                  </a:cubicBezTo>
                  <a:cubicBezTo>
                    <a:pt x="416" y="374"/>
                    <a:pt x="416" y="374"/>
                    <a:pt x="416" y="374"/>
                  </a:cubicBezTo>
                  <a:cubicBezTo>
                    <a:pt x="416" y="374"/>
                    <a:pt x="415" y="374"/>
                    <a:pt x="415" y="374"/>
                  </a:cubicBezTo>
                  <a:cubicBezTo>
                    <a:pt x="415" y="374"/>
                    <a:pt x="415" y="374"/>
                    <a:pt x="415" y="374"/>
                  </a:cubicBezTo>
                  <a:cubicBezTo>
                    <a:pt x="415" y="374"/>
                    <a:pt x="415" y="374"/>
                    <a:pt x="415" y="374"/>
                  </a:cubicBezTo>
                  <a:cubicBezTo>
                    <a:pt x="414" y="374"/>
                    <a:pt x="414" y="374"/>
                    <a:pt x="413" y="374"/>
                  </a:cubicBezTo>
                  <a:cubicBezTo>
                    <a:pt x="413" y="374"/>
                    <a:pt x="413" y="374"/>
                    <a:pt x="413" y="374"/>
                  </a:cubicBezTo>
                  <a:cubicBezTo>
                    <a:pt x="413" y="374"/>
                    <a:pt x="412" y="374"/>
                    <a:pt x="411" y="374"/>
                  </a:cubicBezTo>
                  <a:cubicBezTo>
                    <a:pt x="411" y="374"/>
                    <a:pt x="411" y="374"/>
                    <a:pt x="411" y="374"/>
                  </a:cubicBezTo>
                  <a:cubicBezTo>
                    <a:pt x="411" y="374"/>
                    <a:pt x="410" y="374"/>
                    <a:pt x="410" y="374"/>
                  </a:cubicBezTo>
                  <a:cubicBezTo>
                    <a:pt x="410" y="374"/>
                    <a:pt x="409" y="374"/>
                    <a:pt x="409" y="374"/>
                  </a:cubicBezTo>
                  <a:cubicBezTo>
                    <a:pt x="409" y="375"/>
                    <a:pt x="408" y="375"/>
                    <a:pt x="408" y="375"/>
                  </a:cubicBezTo>
                  <a:cubicBezTo>
                    <a:pt x="408" y="375"/>
                    <a:pt x="408" y="375"/>
                    <a:pt x="407" y="375"/>
                  </a:cubicBezTo>
                  <a:cubicBezTo>
                    <a:pt x="407" y="375"/>
                    <a:pt x="407" y="375"/>
                    <a:pt x="406" y="375"/>
                  </a:cubicBezTo>
                  <a:cubicBezTo>
                    <a:pt x="406" y="375"/>
                    <a:pt x="406" y="375"/>
                    <a:pt x="405" y="375"/>
                  </a:cubicBezTo>
                  <a:cubicBezTo>
                    <a:pt x="405" y="375"/>
                    <a:pt x="405" y="375"/>
                    <a:pt x="405" y="375"/>
                  </a:cubicBezTo>
                  <a:cubicBezTo>
                    <a:pt x="404" y="376"/>
                    <a:pt x="404" y="376"/>
                    <a:pt x="404" y="376"/>
                  </a:cubicBezTo>
                  <a:cubicBezTo>
                    <a:pt x="404" y="376"/>
                    <a:pt x="403" y="376"/>
                    <a:pt x="403" y="376"/>
                  </a:cubicBezTo>
                  <a:cubicBezTo>
                    <a:pt x="403" y="376"/>
                    <a:pt x="402" y="376"/>
                    <a:pt x="402" y="376"/>
                  </a:cubicBezTo>
                  <a:cubicBezTo>
                    <a:pt x="402" y="376"/>
                    <a:pt x="402" y="376"/>
                    <a:pt x="402" y="376"/>
                  </a:cubicBezTo>
                  <a:cubicBezTo>
                    <a:pt x="401" y="377"/>
                    <a:pt x="401" y="377"/>
                    <a:pt x="400" y="377"/>
                  </a:cubicBezTo>
                  <a:cubicBezTo>
                    <a:pt x="400" y="377"/>
                    <a:pt x="400" y="377"/>
                    <a:pt x="400" y="377"/>
                  </a:cubicBezTo>
                  <a:cubicBezTo>
                    <a:pt x="400" y="377"/>
                    <a:pt x="399" y="378"/>
                    <a:pt x="399" y="378"/>
                  </a:cubicBezTo>
                  <a:cubicBezTo>
                    <a:pt x="399" y="378"/>
                    <a:pt x="399" y="378"/>
                    <a:pt x="399" y="378"/>
                  </a:cubicBezTo>
                  <a:cubicBezTo>
                    <a:pt x="398" y="378"/>
                    <a:pt x="398" y="378"/>
                    <a:pt x="397" y="379"/>
                  </a:cubicBezTo>
                  <a:cubicBezTo>
                    <a:pt x="397" y="379"/>
                    <a:pt x="397" y="379"/>
                    <a:pt x="397" y="379"/>
                  </a:cubicBezTo>
                  <a:cubicBezTo>
                    <a:pt x="396" y="379"/>
                    <a:pt x="396" y="379"/>
                    <a:pt x="396" y="380"/>
                  </a:cubicBezTo>
                  <a:cubicBezTo>
                    <a:pt x="396" y="380"/>
                    <a:pt x="395" y="380"/>
                    <a:pt x="395" y="380"/>
                  </a:cubicBezTo>
                  <a:cubicBezTo>
                    <a:pt x="395" y="380"/>
                    <a:pt x="395" y="380"/>
                    <a:pt x="394" y="380"/>
                  </a:cubicBezTo>
                  <a:cubicBezTo>
                    <a:pt x="394" y="381"/>
                    <a:pt x="394" y="381"/>
                    <a:pt x="394" y="381"/>
                  </a:cubicBezTo>
                  <a:cubicBezTo>
                    <a:pt x="393" y="381"/>
                    <a:pt x="393" y="381"/>
                    <a:pt x="393" y="381"/>
                  </a:cubicBezTo>
                  <a:cubicBezTo>
                    <a:pt x="393" y="382"/>
                    <a:pt x="392" y="382"/>
                    <a:pt x="392" y="382"/>
                  </a:cubicBezTo>
                  <a:cubicBezTo>
                    <a:pt x="392" y="382"/>
                    <a:pt x="392" y="382"/>
                    <a:pt x="392" y="382"/>
                  </a:cubicBezTo>
                  <a:cubicBezTo>
                    <a:pt x="391" y="383"/>
                    <a:pt x="391" y="383"/>
                    <a:pt x="390" y="383"/>
                  </a:cubicBezTo>
                  <a:cubicBezTo>
                    <a:pt x="390" y="383"/>
                    <a:pt x="390" y="384"/>
                    <a:pt x="390" y="384"/>
                  </a:cubicBezTo>
                  <a:cubicBezTo>
                    <a:pt x="390" y="384"/>
                    <a:pt x="390" y="384"/>
                    <a:pt x="389" y="385"/>
                  </a:cubicBezTo>
                  <a:cubicBezTo>
                    <a:pt x="389" y="385"/>
                    <a:pt x="389" y="385"/>
                    <a:pt x="389" y="385"/>
                  </a:cubicBezTo>
                  <a:cubicBezTo>
                    <a:pt x="389" y="385"/>
                    <a:pt x="388" y="386"/>
                    <a:pt x="388" y="386"/>
                  </a:cubicBezTo>
                  <a:cubicBezTo>
                    <a:pt x="388" y="386"/>
                    <a:pt x="388" y="386"/>
                    <a:pt x="388" y="386"/>
                  </a:cubicBezTo>
                  <a:cubicBezTo>
                    <a:pt x="387" y="386"/>
                    <a:pt x="387" y="387"/>
                    <a:pt x="387" y="387"/>
                  </a:cubicBezTo>
                  <a:cubicBezTo>
                    <a:pt x="387" y="387"/>
                    <a:pt x="387" y="387"/>
                    <a:pt x="387" y="387"/>
                  </a:cubicBezTo>
                  <a:cubicBezTo>
                    <a:pt x="386" y="388"/>
                    <a:pt x="386" y="388"/>
                    <a:pt x="386" y="389"/>
                  </a:cubicBezTo>
                  <a:cubicBezTo>
                    <a:pt x="386" y="389"/>
                    <a:pt x="386" y="389"/>
                    <a:pt x="386" y="389"/>
                  </a:cubicBezTo>
                  <a:cubicBezTo>
                    <a:pt x="385" y="389"/>
                    <a:pt x="385" y="390"/>
                    <a:pt x="385" y="390"/>
                  </a:cubicBezTo>
                  <a:cubicBezTo>
                    <a:pt x="385" y="390"/>
                    <a:pt x="385" y="390"/>
                    <a:pt x="385" y="390"/>
                  </a:cubicBezTo>
                  <a:cubicBezTo>
                    <a:pt x="384" y="391"/>
                    <a:pt x="384" y="391"/>
                    <a:pt x="384" y="391"/>
                  </a:cubicBezTo>
                  <a:cubicBezTo>
                    <a:pt x="384" y="392"/>
                    <a:pt x="384" y="392"/>
                    <a:pt x="383" y="392"/>
                  </a:cubicBezTo>
                  <a:cubicBezTo>
                    <a:pt x="383" y="392"/>
                    <a:pt x="383" y="392"/>
                    <a:pt x="383" y="393"/>
                  </a:cubicBezTo>
                  <a:cubicBezTo>
                    <a:pt x="383" y="393"/>
                    <a:pt x="383" y="393"/>
                    <a:pt x="383" y="394"/>
                  </a:cubicBezTo>
                  <a:cubicBezTo>
                    <a:pt x="382" y="394"/>
                    <a:pt x="382" y="394"/>
                    <a:pt x="382" y="394"/>
                  </a:cubicBezTo>
                  <a:cubicBezTo>
                    <a:pt x="382" y="395"/>
                    <a:pt x="382" y="395"/>
                    <a:pt x="382" y="395"/>
                  </a:cubicBezTo>
                  <a:cubicBezTo>
                    <a:pt x="382" y="395"/>
                    <a:pt x="382" y="396"/>
                    <a:pt x="382" y="396"/>
                  </a:cubicBezTo>
                  <a:cubicBezTo>
                    <a:pt x="381" y="396"/>
                    <a:pt x="381" y="397"/>
                    <a:pt x="381" y="397"/>
                  </a:cubicBezTo>
                  <a:cubicBezTo>
                    <a:pt x="381" y="397"/>
                    <a:pt x="381" y="397"/>
                    <a:pt x="381" y="397"/>
                  </a:cubicBezTo>
                  <a:cubicBezTo>
                    <a:pt x="381" y="398"/>
                    <a:pt x="380" y="398"/>
                    <a:pt x="380" y="399"/>
                  </a:cubicBezTo>
                  <a:cubicBezTo>
                    <a:pt x="380" y="399"/>
                    <a:pt x="380" y="399"/>
                    <a:pt x="380" y="399"/>
                  </a:cubicBezTo>
                  <a:cubicBezTo>
                    <a:pt x="380" y="399"/>
                    <a:pt x="380" y="399"/>
                    <a:pt x="380" y="399"/>
                  </a:cubicBezTo>
                  <a:cubicBezTo>
                    <a:pt x="380" y="399"/>
                    <a:pt x="380" y="400"/>
                    <a:pt x="380" y="400"/>
                  </a:cubicBezTo>
                  <a:cubicBezTo>
                    <a:pt x="327" y="559"/>
                    <a:pt x="327" y="559"/>
                    <a:pt x="327" y="559"/>
                  </a:cubicBezTo>
                  <a:cubicBezTo>
                    <a:pt x="326" y="563"/>
                    <a:pt x="325" y="567"/>
                    <a:pt x="325" y="570"/>
                  </a:cubicBezTo>
                  <a:cubicBezTo>
                    <a:pt x="325" y="961"/>
                    <a:pt x="325" y="961"/>
                    <a:pt x="325" y="961"/>
                  </a:cubicBezTo>
                  <a:cubicBezTo>
                    <a:pt x="238" y="961"/>
                    <a:pt x="238" y="961"/>
                    <a:pt x="238" y="961"/>
                  </a:cubicBezTo>
                  <a:cubicBezTo>
                    <a:pt x="238" y="570"/>
                    <a:pt x="238" y="570"/>
                    <a:pt x="238" y="570"/>
                  </a:cubicBezTo>
                  <a:cubicBezTo>
                    <a:pt x="238" y="567"/>
                    <a:pt x="238" y="563"/>
                    <a:pt x="236" y="559"/>
                  </a:cubicBezTo>
                  <a:close/>
                  <a:moveTo>
                    <a:pt x="798" y="576"/>
                  </a:moveTo>
                  <a:cubicBezTo>
                    <a:pt x="841" y="447"/>
                    <a:pt x="841" y="447"/>
                    <a:pt x="841" y="447"/>
                  </a:cubicBezTo>
                  <a:cubicBezTo>
                    <a:pt x="922" y="447"/>
                    <a:pt x="922" y="447"/>
                    <a:pt x="922" y="447"/>
                  </a:cubicBezTo>
                  <a:cubicBezTo>
                    <a:pt x="965" y="576"/>
                    <a:pt x="965" y="576"/>
                    <a:pt x="965" y="576"/>
                  </a:cubicBezTo>
                  <a:cubicBezTo>
                    <a:pt x="965" y="961"/>
                    <a:pt x="965" y="961"/>
                    <a:pt x="965" y="961"/>
                  </a:cubicBezTo>
                  <a:cubicBezTo>
                    <a:pt x="798" y="961"/>
                    <a:pt x="798" y="961"/>
                    <a:pt x="798" y="961"/>
                  </a:cubicBezTo>
                  <a:lnTo>
                    <a:pt x="798" y="576"/>
                  </a:lnTo>
                  <a:close/>
                  <a:moveTo>
                    <a:pt x="398" y="576"/>
                  </a:moveTo>
                  <a:cubicBezTo>
                    <a:pt x="441" y="447"/>
                    <a:pt x="441" y="447"/>
                    <a:pt x="441" y="447"/>
                  </a:cubicBezTo>
                  <a:cubicBezTo>
                    <a:pt x="522" y="447"/>
                    <a:pt x="522" y="447"/>
                    <a:pt x="522" y="447"/>
                  </a:cubicBezTo>
                  <a:cubicBezTo>
                    <a:pt x="565" y="576"/>
                    <a:pt x="565" y="576"/>
                    <a:pt x="565" y="576"/>
                  </a:cubicBezTo>
                  <a:cubicBezTo>
                    <a:pt x="565" y="961"/>
                    <a:pt x="565" y="961"/>
                    <a:pt x="565" y="961"/>
                  </a:cubicBezTo>
                  <a:cubicBezTo>
                    <a:pt x="398" y="961"/>
                    <a:pt x="398" y="961"/>
                    <a:pt x="398" y="961"/>
                  </a:cubicBezTo>
                  <a:lnTo>
                    <a:pt x="398" y="576"/>
                  </a:lnTo>
                  <a:close/>
                  <a:moveTo>
                    <a:pt x="1285" y="1281"/>
                  </a:moveTo>
                  <a:cubicBezTo>
                    <a:pt x="78" y="1281"/>
                    <a:pt x="78" y="1281"/>
                    <a:pt x="78" y="1281"/>
                  </a:cubicBezTo>
                  <a:cubicBezTo>
                    <a:pt x="78" y="1194"/>
                    <a:pt x="78" y="1194"/>
                    <a:pt x="78" y="1194"/>
                  </a:cubicBezTo>
                  <a:cubicBezTo>
                    <a:pt x="1002" y="1194"/>
                    <a:pt x="1002" y="1194"/>
                    <a:pt x="1002" y="1194"/>
                  </a:cubicBezTo>
                  <a:cubicBezTo>
                    <a:pt x="1022" y="1194"/>
                    <a:pt x="1038" y="1178"/>
                    <a:pt x="1038" y="1157"/>
                  </a:cubicBezTo>
                  <a:cubicBezTo>
                    <a:pt x="1038" y="1137"/>
                    <a:pt x="1022" y="1121"/>
                    <a:pt x="1002" y="1121"/>
                  </a:cubicBezTo>
                  <a:cubicBezTo>
                    <a:pt x="132" y="1121"/>
                    <a:pt x="132" y="1121"/>
                    <a:pt x="132" y="1121"/>
                  </a:cubicBezTo>
                  <a:cubicBezTo>
                    <a:pt x="132" y="1034"/>
                    <a:pt x="132" y="1034"/>
                    <a:pt x="132" y="1034"/>
                  </a:cubicBezTo>
                  <a:cubicBezTo>
                    <a:pt x="1232" y="1034"/>
                    <a:pt x="1232" y="1034"/>
                    <a:pt x="1232" y="1034"/>
                  </a:cubicBezTo>
                  <a:cubicBezTo>
                    <a:pt x="1232" y="1157"/>
                    <a:pt x="1232" y="1157"/>
                    <a:pt x="1232" y="1157"/>
                  </a:cubicBezTo>
                  <a:cubicBezTo>
                    <a:pt x="1232" y="1178"/>
                    <a:pt x="1248" y="1194"/>
                    <a:pt x="1268" y="1194"/>
                  </a:cubicBezTo>
                  <a:cubicBezTo>
                    <a:pt x="1285" y="1194"/>
                    <a:pt x="1285" y="1194"/>
                    <a:pt x="1285" y="1194"/>
                  </a:cubicBezTo>
                  <a:lnTo>
                    <a:pt x="1285" y="1281"/>
                  </a:lnTo>
                  <a:close/>
                </a:path>
              </a:pathLst>
            </a:custGeom>
            <a:solidFill>
              <a:srgbClr val="AA0061"/>
            </a:solidFill>
            <a:ln w="9525">
              <a:solidFill>
                <a:srgbClr val="AA0061"/>
              </a:solidFill>
              <a:round/>
              <a:headEnd/>
              <a:tailEnd/>
            </a:ln>
          </p:spPr>
          <p:txBody>
            <a:bodyPr vert="horz" wrap="square" lIns="108000" tIns="45720" rIns="10800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0" i="0" u="none" strike="noStrike" kern="0" cap="none" spc="0" normalizeH="0" baseline="0" noProof="0">
                <a:ln>
                  <a:noFill/>
                </a:ln>
                <a:solidFill>
                  <a:srgbClr val="2D32A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4" name="Rettangolo 13">
            <a:extLst>
              <a:ext uri="{FF2B5EF4-FFF2-40B4-BE49-F238E27FC236}">
                <a16:creationId xmlns:a16="http://schemas.microsoft.com/office/drawing/2014/main" id="{360ABC00-EC14-640E-94E4-790AD83BD210}"/>
              </a:ext>
            </a:extLst>
          </p:cNvPr>
          <p:cNvSpPr/>
          <p:nvPr/>
        </p:nvSpPr>
        <p:spPr>
          <a:xfrm>
            <a:off x="6475729" y="5735648"/>
            <a:ext cx="2522269" cy="348039"/>
          </a:xfrm>
          <a:prstGeom prst="rect">
            <a:avLst/>
          </a:prstGeom>
          <a:solidFill>
            <a:srgbClr val="AA0061"/>
          </a:solidFill>
          <a:ln>
            <a:solidFill>
              <a:srgbClr val="AA0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GARANTI</a:t>
            </a:r>
          </a:p>
        </p:txBody>
      </p:sp>
      <p:cxnSp>
        <p:nvCxnSpPr>
          <p:cNvPr id="15" name="Connettore 2 14">
            <a:extLst>
              <a:ext uri="{FF2B5EF4-FFF2-40B4-BE49-F238E27FC236}">
                <a16:creationId xmlns:a16="http://schemas.microsoft.com/office/drawing/2014/main" id="{B85D76BD-32ED-2C4D-6893-EBF687B111F2}"/>
              </a:ext>
            </a:extLst>
          </p:cNvPr>
          <p:cNvCxnSpPr>
            <a:stCxn id="4" idx="3"/>
            <a:endCxn id="10" idx="1"/>
          </p:cNvCxnSpPr>
          <p:nvPr/>
        </p:nvCxnSpPr>
        <p:spPr>
          <a:xfrm>
            <a:off x="4514386" y="2448689"/>
            <a:ext cx="1010884" cy="744366"/>
          </a:xfrm>
          <a:prstGeom prst="straightConnector1">
            <a:avLst/>
          </a:prstGeom>
          <a:ln w="19050">
            <a:solidFill>
              <a:srgbClr val="00305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ttore 2 15">
            <a:extLst>
              <a:ext uri="{FF2B5EF4-FFF2-40B4-BE49-F238E27FC236}">
                <a16:creationId xmlns:a16="http://schemas.microsoft.com/office/drawing/2014/main" id="{0E8C4394-8C5D-9CC0-31F7-B0DCFE4EE459}"/>
              </a:ext>
            </a:extLst>
          </p:cNvPr>
          <p:cNvCxnSpPr>
            <a:stCxn id="8" idx="3"/>
            <a:endCxn id="10" idx="1"/>
          </p:cNvCxnSpPr>
          <p:nvPr/>
        </p:nvCxnSpPr>
        <p:spPr>
          <a:xfrm flipV="1">
            <a:off x="4515473" y="3193055"/>
            <a:ext cx="1009797" cy="1244110"/>
          </a:xfrm>
          <a:prstGeom prst="straightConnector1">
            <a:avLst/>
          </a:prstGeom>
          <a:ln w="19050">
            <a:solidFill>
              <a:srgbClr val="00305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ttore 2 16">
            <a:extLst>
              <a:ext uri="{FF2B5EF4-FFF2-40B4-BE49-F238E27FC236}">
                <a16:creationId xmlns:a16="http://schemas.microsoft.com/office/drawing/2014/main" id="{1D6BCFCC-6512-7CAA-5A0D-310BDDA3470C}"/>
              </a:ext>
            </a:extLst>
          </p:cNvPr>
          <p:cNvCxnSpPr>
            <a:stCxn id="9" idx="3"/>
            <a:endCxn id="12" idx="2"/>
          </p:cNvCxnSpPr>
          <p:nvPr/>
        </p:nvCxnSpPr>
        <p:spPr>
          <a:xfrm flipV="1">
            <a:off x="4515473" y="5409968"/>
            <a:ext cx="2708925" cy="2515"/>
          </a:xfrm>
          <a:prstGeom prst="straightConnector1">
            <a:avLst/>
          </a:prstGeom>
          <a:ln w="19050">
            <a:solidFill>
              <a:srgbClr val="00305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ttore 2 17">
            <a:extLst>
              <a:ext uri="{FF2B5EF4-FFF2-40B4-BE49-F238E27FC236}">
                <a16:creationId xmlns:a16="http://schemas.microsoft.com/office/drawing/2014/main" id="{CD402472-4796-0E90-1CD1-763FDEE85696}"/>
              </a:ext>
            </a:extLst>
          </p:cNvPr>
          <p:cNvCxnSpPr>
            <a:stCxn id="10" idx="2"/>
            <a:endCxn id="12" idx="1"/>
          </p:cNvCxnSpPr>
          <p:nvPr/>
        </p:nvCxnSpPr>
        <p:spPr>
          <a:xfrm>
            <a:off x="6917261" y="4248166"/>
            <a:ext cx="444564" cy="870663"/>
          </a:xfrm>
          <a:prstGeom prst="straightConnector1">
            <a:avLst/>
          </a:prstGeom>
          <a:ln w="19050">
            <a:solidFill>
              <a:srgbClr val="00305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ttangolo 18">
            <a:extLst>
              <a:ext uri="{FF2B5EF4-FFF2-40B4-BE49-F238E27FC236}">
                <a16:creationId xmlns:a16="http://schemas.microsoft.com/office/drawing/2014/main" id="{6636D003-0183-2C1F-5251-2EB693E43825}"/>
              </a:ext>
            </a:extLst>
          </p:cNvPr>
          <p:cNvSpPr/>
          <p:nvPr/>
        </p:nvSpPr>
        <p:spPr>
          <a:xfrm>
            <a:off x="694063" y="1047340"/>
            <a:ext cx="8442750" cy="5133124"/>
          </a:xfrm>
          <a:prstGeom prst="rect">
            <a:avLst/>
          </a:prstGeom>
          <a:noFill/>
          <a:ln w="38100">
            <a:solidFill>
              <a:srgbClr val="003057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0" name="Rettangolo 19">
            <a:extLst>
              <a:ext uri="{FF2B5EF4-FFF2-40B4-BE49-F238E27FC236}">
                <a16:creationId xmlns:a16="http://schemas.microsoft.com/office/drawing/2014/main" id="{5A7C02FB-E3E9-5E7B-33FA-DF9828DA37BD}"/>
              </a:ext>
            </a:extLst>
          </p:cNvPr>
          <p:cNvSpPr/>
          <p:nvPr/>
        </p:nvSpPr>
        <p:spPr>
          <a:xfrm>
            <a:off x="9376050" y="2449022"/>
            <a:ext cx="235691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4625" lvl="1" algn="ctr"/>
            <a:r>
              <a:rPr lang="it-IT" sz="1200" dirty="0">
                <a:latin typeface="Arial" panose="020B0604020202020204" pitchFamily="34" charset="0"/>
                <a:cs typeface="Arial" panose="020B0604020202020204" pitchFamily="34" charset="0"/>
              </a:rPr>
              <a:t>Fornisce in anticipo i token per la gestione delle transazioni</a:t>
            </a:r>
          </a:p>
        </p:txBody>
      </p:sp>
      <p:sp>
        <p:nvSpPr>
          <p:cNvPr id="21" name="Rettangolo 20">
            <a:extLst>
              <a:ext uri="{FF2B5EF4-FFF2-40B4-BE49-F238E27FC236}">
                <a16:creationId xmlns:a16="http://schemas.microsoft.com/office/drawing/2014/main" id="{887EFBE4-5DB5-4341-A336-BD2D804B8912}"/>
              </a:ext>
            </a:extLst>
          </p:cNvPr>
          <p:cNvSpPr/>
          <p:nvPr/>
        </p:nvSpPr>
        <p:spPr>
          <a:xfrm>
            <a:off x="9720753" y="4453116"/>
            <a:ext cx="1895137" cy="355211"/>
          </a:xfrm>
          <a:prstGeom prst="rect">
            <a:avLst/>
          </a:prstGeom>
          <a:solidFill>
            <a:srgbClr val="E8E8E8"/>
          </a:solidFill>
          <a:ln>
            <a:solidFill>
              <a:srgbClr val="E8E8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zi Pubblici</a:t>
            </a:r>
          </a:p>
        </p:txBody>
      </p:sp>
      <p:sp>
        <p:nvSpPr>
          <p:cNvPr id="22" name="Rettangolo 21">
            <a:extLst>
              <a:ext uri="{FF2B5EF4-FFF2-40B4-BE49-F238E27FC236}">
                <a16:creationId xmlns:a16="http://schemas.microsoft.com/office/drawing/2014/main" id="{A6B0EA3F-3250-C824-23E3-1E04403BF7B3}"/>
              </a:ext>
            </a:extLst>
          </p:cNvPr>
          <p:cNvSpPr/>
          <p:nvPr/>
        </p:nvSpPr>
        <p:spPr>
          <a:xfrm>
            <a:off x="9377953" y="1916225"/>
            <a:ext cx="2449790" cy="1270065"/>
          </a:xfrm>
          <a:prstGeom prst="rect">
            <a:avLst/>
          </a:prstGeom>
          <a:noFill/>
          <a:ln w="38100">
            <a:solidFill>
              <a:srgbClr val="E8E8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Picture 2" descr="Aligning Algo Circulating Supply Metrics for Algorand Ecosystem">
            <a:extLst>
              <a:ext uri="{FF2B5EF4-FFF2-40B4-BE49-F238E27FC236}">
                <a16:creationId xmlns:a16="http://schemas.microsoft.com/office/drawing/2014/main" id="{74E3CD9E-5F98-6D51-D996-919B1432C04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094716" y="1311859"/>
            <a:ext cx="898742" cy="541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Rettangolo 23">
            <a:extLst>
              <a:ext uri="{FF2B5EF4-FFF2-40B4-BE49-F238E27FC236}">
                <a16:creationId xmlns:a16="http://schemas.microsoft.com/office/drawing/2014/main" id="{393CAEB8-2301-6832-6D2D-2419E91322F8}"/>
              </a:ext>
            </a:extLst>
          </p:cNvPr>
          <p:cNvSpPr/>
          <p:nvPr/>
        </p:nvSpPr>
        <p:spPr>
          <a:xfrm>
            <a:off x="9377953" y="1916225"/>
            <a:ext cx="2447887" cy="355211"/>
          </a:xfrm>
          <a:prstGeom prst="rect">
            <a:avLst/>
          </a:prstGeom>
          <a:solidFill>
            <a:srgbClr val="E8E8E8"/>
          </a:solidFill>
          <a:ln>
            <a:solidFill>
              <a:srgbClr val="E8E8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zi di </a:t>
            </a:r>
            <a:r>
              <a:rPr lang="it-IT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vernance</a:t>
            </a:r>
            <a:r>
              <a:rPr lang="it-IT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5" name="Rettangolo 24">
            <a:extLst>
              <a:ext uri="{FF2B5EF4-FFF2-40B4-BE49-F238E27FC236}">
                <a16:creationId xmlns:a16="http://schemas.microsoft.com/office/drawing/2014/main" id="{F07FAD36-E6DC-BC82-03D5-F911B85D4488}"/>
              </a:ext>
            </a:extLst>
          </p:cNvPr>
          <p:cNvSpPr/>
          <p:nvPr/>
        </p:nvSpPr>
        <p:spPr>
          <a:xfrm>
            <a:off x="9737221" y="4465642"/>
            <a:ext cx="1878669" cy="1046663"/>
          </a:xfrm>
          <a:prstGeom prst="rect">
            <a:avLst/>
          </a:prstGeom>
          <a:noFill/>
          <a:ln w="38100">
            <a:solidFill>
              <a:srgbClr val="E8E8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ttangolo 25">
            <a:extLst>
              <a:ext uri="{FF2B5EF4-FFF2-40B4-BE49-F238E27FC236}">
                <a16:creationId xmlns:a16="http://schemas.microsoft.com/office/drawing/2014/main" id="{FCBC3FE0-C084-DC92-2DB1-FD23E754ABED}"/>
              </a:ext>
            </a:extLst>
          </p:cNvPr>
          <p:cNvSpPr/>
          <p:nvPr/>
        </p:nvSpPr>
        <p:spPr>
          <a:xfrm>
            <a:off x="9737222" y="4926815"/>
            <a:ext cx="176071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4625" lvl="1" algn="ctr"/>
            <a:r>
              <a:rPr lang="it-IT" sz="1200" dirty="0">
                <a:latin typeface="Arial" panose="020B0604020202020204" pitchFamily="34" charset="0"/>
                <a:cs typeface="Arial" panose="020B0604020202020204" pitchFamily="34" charset="0"/>
              </a:rPr>
              <a:t>La community partecipa alla rete</a:t>
            </a:r>
          </a:p>
        </p:txBody>
      </p:sp>
      <p:pic>
        <p:nvPicPr>
          <p:cNvPr id="27" name="Picture 4" descr="Join the Borderless Economy | Algorand">
            <a:extLst>
              <a:ext uri="{FF2B5EF4-FFF2-40B4-BE49-F238E27FC236}">
                <a16:creationId xmlns:a16="http://schemas.microsoft.com/office/drawing/2014/main" id="{1714253C-C560-E29F-B393-8499DC242D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06996" y="3650707"/>
            <a:ext cx="539115" cy="5391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CasellaDiTesto 27">
            <a:extLst>
              <a:ext uri="{FF2B5EF4-FFF2-40B4-BE49-F238E27FC236}">
                <a16:creationId xmlns:a16="http://schemas.microsoft.com/office/drawing/2014/main" id="{AF02E71D-1512-998C-E0FC-682E1B7CEEB7}"/>
              </a:ext>
            </a:extLst>
          </p:cNvPr>
          <p:cNvSpPr txBox="1"/>
          <p:nvPr/>
        </p:nvSpPr>
        <p:spPr>
          <a:xfrm>
            <a:off x="9992702" y="4139276"/>
            <a:ext cx="13677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dirty="0">
                <a:latin typeface="Arial" panose="020B0604020202020204" pitchFamily="34" charset="0"/>
                <a:cs typeface="Arial" panose="020B0604020202020204" pitchFamily="34" charset="0"/>
              </a:rPr>
              <a:t>Community</a:t>
            </a:r>
          </a:p>
        </p:txBody>
      </p:sp>
      <p:sp>
        <p:nvSpPr>
          <p:cNvPr id="29" name="Segnaposto numero diapositiva 5">
            <a:extLst>
              <a:ext uri="{FF2B5EF4-FFF2-40B4-BE49-F238E27FC236}">
                <a16:creationId xmlns:a16="http://schemas.microsoft.com/office/drawing/2014/main" id="{F5F074CA-0318-2B7B-C406-15F8867D4506}"/>
              </a:ext>
            </a:extLst>
          </p:cNvPr>
          <p:cNvSpPr txBox="1">
            <a:spLocks/>
          </p:cNvSpPr>
          <p:nvPr/>
        </p:nvSpPr>
        <p:spPr>
          <a:xfrm>
            <a:off x="11374438" y="6315075"/>
            <a:ext cx="81756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t-IT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fld id="{B7C8ED99-00F4-7E4D-A2B9-6ECAF68FD4D2}" type="slidenum">
              <a:rPr lang="it-IT" sz="140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l">
                <a:defRPr/>
              </a:pPr>
              <a:t>12</a:t>
            </a:fld>
            <a:endParaRPr lang="it-IT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0" name="Immagine 29" descr="Immagine che contiene clipart&#10;&#10;Descrizione generata automaticamente">
            <a:extLst>
              <a:ext uri="{FF2B5EF4-FFF2-40B4-BE49-F238E27FC236}">
                <a16:creationId xmlns:a16="http://schemas.microsoft.com/office/drawing/2014/main" id="{B8CDBF2D-B2F5-B4B1-450E-EC4139B7A24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8862" y="3250358"/>
            <a:ext cx="1416394" cy="432000"/>
          </a:xfrm>
          <a:prstGeom prst="rect">
            <a:avLst/>
          </a:prstGeom>
        </p:spPr>
      </p:pic>
      <p:pic>
        <p:nvPicPr>
          <p:cNvPr id="31" name="Immagine 30" descr="Immagine che contiene testo&#10;&#10;Descrizione generata automaticamente">
            <a:extLst>
              <a:ext uri="{FF2B5EF4-FFF2-40B4-BE49-F238E27FC236}">
                <a16:creationId xmlns:a16="http://schemas.microsoft.com/office/drawing/2014/main" id="{9317A0F8-58A9-FFC2-A387-221C534FF92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4616" y="1550731"/>
            <a:ext cx="1725289" cy="4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88602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Connettore diritto 1">
            <a:extLst>
              <a:ext uri="{FF2B5EF4-FFF2-40B4-BE49-F238E27FC236}">
                <a16:creationId xmlns:a16="http://schemas.microsoft.com/office/drawing/2014/main" id="{AF80816F-D666-50A1-36F3-38BC66ADB22A}"/>
              </a:ext>
            </a:extLst>
          </p:cNvPr>
          <p:cNvCxnSpPr>
            <a:cxnSpLocks/>
          </p:cNvCxnSpPr>
          <p:nvPr/>
        </p:nvCxnSpPr>
        <p:spPr>
          <a:xfrm>
            <a:off x="3836439" y="1580984"/>
            <a:ext cx="6016365" cy="0"/>
          </a:xfrm>
          <a:prstGeom prst="line">
            <a:avLst/>
          </a:prstGeom>
          <a:ln w="19050">
            <a:solidFill>
              <a:srgbClr val="00206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0C69BEF5-F35D-C142-9499-D1D34D423138}"/>
              </a:ext>
            </a:extLst>
          </p:cNvPr>
          <p:cNvCxnSpPr>
            <a:cxnSpLocks noChangeAspect="1"/>
          </p:cNvCxnSpPr>
          <p:nvPr>
            <p:custDataLst>
              <p:tags r:id="rId1"/>
            </p:custDataLst>
          </p:nvPr>
        </p:nvCxnSpPr>
        <p:spPr>
          <a:xfrm flipV="1">
            <a:off x="1424983" y="2242315"/>
            <a:ext cx="2411456" cy="783529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Connecteur droit 3">
            <a:extLst>
              <a:ext uri="{FF2B5EF4-FFF2-40B4-BE49-F238E27FC236}">
                <a16:creationId xmlns:a16="http://schemas.microsoft.com/office/drawing/2014/main" id="{3388FD85-945A-8A01-C6DB-38C65D5F8428}"/>
              </a:ext>
            </a:extLst>
          </p:cNvPr>
          <p:cNvCxnSpPr>
            <a:cxnSpLocks noChangeAspect="1"/>
          </p:cNvCxnSpPr>
          <p:nvPr>
            <p:custDataLst>
              <p:tags r:id="rId2"/>
            </p:custDataLst>
          </p:nvPr>
        </p:nvCxnSpPr>
        <p:spPr>
          <a:xfrm flipV="1">
            <a:off x="2683500" y="2242315"/>
            <a:ext cx="1152939" cy="2126978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necteur droit 5">
            <a:extLst>
              <a:ext uri="{FF2B5EF4-FFF2-40B4-BE49-F238E27FC236}">
                <a16:creationId xmlns:a16="http://schemas.microsoft.com/office/drawing/2014/main" id="{217D4621-AAC8-F238-7406-4176F237BF13}"/>
              </a:ext>
            </a:extLst>
          </p:cNvPr>
          <p:cNvCxnSpPr>
            <a:cxnSpLocks noChangeAspect="1"/>
          </p:cNvCxnSpPr>
          <p:nvPr>
            <p:custDataLst>
              <p:tags r:id="rId3"/>
            </p:custDataLst>
          </p:nvPr>
        </p:nvCxnSpPr>
        <p:spPr>
          <a:xfrm flipH="1" flipV="1">
            <a:off x="3836442" y="2242314"/>
            <a:ext cx="1166188" cy="2060719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Connecteur droit 6">
            <a:extLst>
              <a:ext uri="{FF2B5EF4-FFF2-40B4-BE49-F238E27FC236}">
                <a16:creationId xmlns:a16="http://schemas.microsoft.com/office/drawing/2014/main" id="{14D6C8B0-905A-40F9-F896-E9ADDE1BFCEE}"/>
              </a:ext>
            </a:extLst>
          </p:cNvPr>
          <p:cNvCxnSpPr>
            <a:cxnSpLocks noChangeAspect="1"/>
          </p:cNvCxnSpPr>
          <p:nvPr>
            <p:custDataLst>
              <p:tags r:id="rId4"/>
            </p:custDataLst>
          </p:nvPr>
        </p:nvCxnSpPr>
        <p:spPr>
          <a:xfrm flipH="1" flipV="1">
            <a:off x="3836441" y="2242315"/>
            <a:ext cx="2411456" cy="783529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llipse 7">
            <a:extLst>
              <a:ext uri="{FF2B5EF4-FFF2-40B4-BE49-F238E27FC236}">
                <a16:creationId xmlns:a16="http://schemas.microsoft.com/office/drawing/2014/main" id="{6744E13A-DB87-F8E6-9B5E-C148AC5469AE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5633216" y="2411164"/>
            <a:ext cx="864000" cy="864000"/>
          </a:xfrm>
          <a:prstGeom prst="ellipse">
            <a:avLst/>
          </a:prstGeom>
          <a:solidFill>
            <a:srgbClr val="A7BCD6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400" dirty="0">
              <a:solidFill>
                <a:srgbClr val="FFFFFF"/>
              </a:solidFill>
            </a:endParaRPr>
          </a:p>
        </p:txBody>
      </p:sp>
      <p:sp>
        <p:nvSpPr>
          <p:cNvPr id="8" name="Ellipse 8">
            <a:extLst>
              <a:ext uri="{FF2B5EF4-FFF2-40B4-BE49-F238E27FC236}">
                <a16:creationId xmlns:a16="http://schemas.microsoft.com/office/drawing/2014/main" id="{345F9DC3-C5AE-BB5F-7899-B005ABF3FE2F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>
          <a:xfrm>
            <a:off x="4394620" y="3678941"/>
            <a:ext cx="864000" cy="864000"/>
          </a:xfrm>
          <a:prstGeom prst="ellipse">
            <a:avLst/>
          </a:prstGeom>
          <a:solidFill>
            <a:srgbClr val="A7BCD6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400" dirty="0">
              <a:solidFill>
                <a:srgbClr val="FFFFFF"/>
              </a:solidFill>
            </a:endParaRPr>
          </a:p>
        </p:txBody>
      </p:sp>
      <p:sp>
        <p:nvSpPr>
          <p:cNvPr id="9" name="Ellipse 10">
            <a:extLst>
              <a:ext uri="{FF2B5EF4-FFF2-40B4-BE49-F238E27FC236}">
                <a16:creationId xmlns:a16="http://schemas.microsoft.com/office/drawing/2014/main" id="{A401D517-89F7-173C-5CA9-55A320DEA140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2341856" y="3678941"/>
            <a:ext cx="864000" cy="864000"/>
          </a:xfrm>
          <a:prstGeom prst="ellipse">
            <a:avLst/>
          </a:prstGeom>
          <a:solidFill>
            <a:srgbClr val="A7BCD6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400" dirty="0">
              <a:solidFill>
                <a:srgbClr val="FFFFFF"/>
              </a:solidFill>
            </a:endParaRPr>
          </a:p>
        </p:txBody>
      </p:sp>
      <p:sp>
        <p:nvSpPr>
          <p:cNvPr id="10" name="Ellipse 11">
            <a:extLst>
              <a:ext uri="{FF2B5EF4-FFF2-40B4-BE49-F238E27FC236}">
                <a16:creationId xmlns:a16="http://schemas.microsoft.com/office/drawing/2014/main" id="{7B837DCC-0A1A-632E-E098-58FAD0C1D85A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>
          <a:xfrm>
            <a:off x="1188914" y="2408673"/>
            <a:ext cx="864000" cy="864000"/>
          </a:xfrm>
          <a:prstGeom prst="ellipse">
            <a:avLst/>
          </a:prstGeom>
          <a:solidFill>
            <a:srgbClr val="A7BCD6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400" dirty="0">
              <a:solidFill>
                <a:srgbClr val="FFFFFF"/>
              </a:solidFill>
            </a:endParaRPr>
          </a:p>
        </p:txBody>
      </p:sp>
      <p:sp>
        <p:nvSpPr>
          <p:cNvPr id="11" name="Rettangolo 10">
            <a:extLst>
              <a:ext uri="{FF2B5EF4-FFF2-40B4-BE49-F238E27FC236}">
                <a16:creationId xmlns:a16="http://schemas.microsoft.com/office/drawing/2014/main" id="{91323E83-BDC6-FBF7-570E-9D946042A8C5}"/>
              </a:ext>
            </a:extLst>
          </p:cNvPr>
          <p:cNvSpPr>
            <a:spLocks noChangeAspect="1"/>
          </p:cNvSpPr>
          <p:nvPr/>
        </p:nvSpPr>
        <p:spPr>
          <a:xfrm>
            <a:off x="2683500" y="1346844"/>
            <a:ext cx="2319130" cy="1035586"/>
          </a:xfrm>
          <a:prstGeom prst="rect">
            <a:avLst/>
          </a:prstGeom>
          <a:solidFill>
            <a:schemeClr val="bg1"/>
          </a:solidFill>
          <a:ln w="19050">
            <a:solidFill>
              <a:srgbClr val="00206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 il </a:t>
            </a:r>
            <a:r>
              <a:rPr lang="en-IT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T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lo multi-ledger </a:t>
            </a:r>
            <a:r>
              <a:rPr lang="en-IT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giormente scalabile</a:t>
            </a:r>
            <a:r>
              <a:rPr lang="it-IT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è possibile: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2EE4F398-B80D-E3F7-4E2E-17E9086E7A05}"/>
              </a:ext>
            </a:extLst>
          </p:cNvPr>
          <p:cNvSpPr txBox="1">
            <a:spLocks noChangeAspect="1"/>
          </p:cNvSpPr>
          <p:nvPr/>
        </p:nvSpPr>
        <p:spPr>
          <a:xfrm>
            <a:off x="144437" y="3282895"/>
            <a:ext cx="2197416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lang="en-IT" sz="1400" b="1" dirty="0">
                <a:latin typeface="Arial" panose="020B0604020202020204" pitchFamily="34" charset="0"/>
                <a:cs typeface="Arial" panose="020B0604020202020204" pitchFamily="34" charset="0"/>
              </a:rPr>
              <a:t>imuovere il vincolo </a:t>
            </a:r>
            <a:r>
              <a:rPr lang="en-IT" sz="1400" dirty="0">
                <a:latin typeface="Arial" panose="020B0604020202020204" pitchFamily="34" charset="0"/>
                <a:cs typeface="Arial" panose="020B0604020202020204" pitchFamily="34" charset="0"/>
              </a:rPr>
              <a:t>di una specifica tecnologia DLT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en-IT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6D4B6DE0-D0A9-3D55-F9C8-1026E37F05DB}"/>
              </a:ext>
            </a:extLst>
          </p:cNvPr>
          <p:cNvSpPr txBox="1">
            <a:spLocks noChangeAspect="1"/>
          </p:cNvSpPr>
          <p:nvPr/>
        </p:nvSpPr>
        <p:spPr>
          <a:xfrm>
            <a:off x="1532003" y="4596291"/>
            <a:ext cx="2197416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en-IT" sz="1400" dirty="0">
                <a:latin typeface="Arial" panose="020B0604020202020204" pitchFamily="34" charset="0"/>
                <a:cs typeface="Arial" panose="020B0604020202020204" pitchFamily="34" charset="0"/>
              </a:rPr>
              <a:t>onsentire un </a:t>
            </a:r>
            <a:r>
              <a:rPr lang="en-IT" sz="1400" b="1" dirty="0">
                <a:latin typeface="Arial" panose="020B0604020202020204" pitchFamily="34" charset="0"/>
                <a:cs typeface="Arial" panose="020B0604020202020204" pitchFamily="34" charset="0"/>
              </a:rPr>
              <a:t>nuovo modello di notarizzazione </a:t>
            </a:r>
            <a:r>
              <a:rPr lang="en-IT" sz="1400" dirty="0">
                <a:latin typeface="Arial" panose="020B0604020202020204" pitchFamily="34" charset="0"/>
                <a:cs typeface="Arial" panose="020B0604020202020204" pitchFamily="34" charset="0"/>
              </a:rPr>
              <a:t>dei dati basato su </a:t>
            </a:r>
            <a:r>
              <a:rPr lang="en-IT" sz="1400" b="1" dirty="0">
                <a:latin typeface="Arial" panose="020B0604020202020204" pitchFamily="34" charset="0"/>
                <a:cs typeface="Arial" panose="020B0604020202020204" pitchFamily="34" charset="0"/>
              </a:rPr>
              <a:t>ledger pubblico</a:t>
            </a: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en-IT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3BCD4358-4831-8B40-FF86-F9367F1F31EC}"/>
              </a:ext>
            </a:extLst>
          </p:cNvPr>
          <p:cNvSpPr txBox="1">
            <a:spLocks noChangeAspect="1"/>
          </p:cNvSpPr>
          <p:nvPr/>
        </p:nvSpPr>
        <p:spPr>
          <a:xfrm>
            <a:off x="4159912" y="4596291"/>
            <a:ext cx="2197416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abilitare un </a:t>
            </a: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modello basato su </a:t>
            </a:r>
            <a:r>
              <a:rPr lang="it-IT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wallet</a:t>
            </a: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e dotato di un </a:t>
            </a: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maggior livello di interoperabilità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13FAE1FD-8F42-0DCE-B69B-1BFE3066B764}"/>
              </a:ext>
            </a:extLst>
          </p:cNvPr>
          <p:cNvSpPr txBox="1">
            <a:spLocks noChangeAspect="1"/>
          </p:cNvSpPr>
          <p:nvPr/>
        </p:nvSpPr>
        <p:spPr>
          <a:xfrm>
            <a:off x="5370709" y="3305804"/>
            <a:ext cx="2251757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utilizzare una </a:t>
            </a: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blockchain pubblica 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in ambito corporate.</a:t>
            </a:r>
            <a:endParaRPr lang="en-IT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6" name="Gruppo 15">
            <a:extLst>
              <a:ext uri="{FF2B5EF4-FFF2-40B4-BE49-F238E27FC236}">
                <a16:creationId xmlns:a16="http://schemas.microsoft.com/office/drawing/2014/main" id="{B504A53B-60E5-92C3-D668-DA9AD6CFB6DA}"/>
              </a:ext>
            </a:extLst>
          </p:cNvPr>
          <p:cNvGrpSpPr/>
          <p:nvPr/>
        </p:nvGrpSpPr>
        <p:grpSpPr>
          <a:xfrm>
            <a:off x="7856423" y="1625052"/>
            <a:ext cx="3992761" cy="3295242"/>
            <a:chOff x="7826036" y="1536996"/>
            <a:chExt cx="3992761" cy="3295242"/>
          </a:xfrm>
        </p:grpSpPr>
        <p:sp>
          <p:nvSpPr>
            <p:cNvPr id="17" name="Rettangolo 16">
              <a:extLst>
                <a:ext uri="{FF2B5EF4-FFF2-40B4-BE49-F238E27FC236}">
                  <a16:creationId xmlns:a16="http://schemas.microsoft.com/office/drawing/2014/main" id="{0462AE7C-F5B5-FBE8-A77B-81E85A4A7782}"/>
                </a:ext>
              </a:extLst>
            </p:cNvPr>
            <p:cNvSpPr/>
            <p:nvPr/>
          </p:nvSpPr>
          <p:spPr>
            <a:xfrm>
              <a:off x="7826036" y="1536996"/>
              <a:ext cx="3992761" cy="3295242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pic>
          <p:nvPicPr>
            <p:cNvPr id="18" name="Picture 20">
              <a:extLst>
                <a:ext uri="{FF2B5EF4-FFF2-40B4-BE49-F238E27FC236}">
                  <a16:creationId xmlns:a16="http://schemas.microsoft.com/office/drawing/2014/main" id="{B75798FD-C96F-D7B9-1049-286FA47D514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90701" y="2079249"/>
              <a:ext cx="2829967" cy="1825995"/>
            </a:xfrm>
            <a:prstGeom prst="rect">
              <a:avLst/>
            </a:prstGeom>
          </p:spPr>
        </p:pic>
        <p:pic>
          <p:nvPicPr>
            <p:cNvPr id="19" name="Picture 21">
              <a:extLst>
                <a:ext uri="{FF2B5EF4-FFF2-40B4-BE49-F238E27FC236}">
                  <a16:creationId xmlns:a16="http://schemas.microsoft.com/office/drawing/2014/main" id="{ECB167D7-95E1-6E79-6B5C-C0FD7F2526E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78728" y="4217554"/>
              <a:ext cx="1495905" cy="477995"/>
            </a:xfrm>
            <a:prstGeom prst="rect">
              <a:avLst/>
            </a:prstGeom>
          </p:spPr>
        </p:pic>
        <p:cxnSp>
          <p:nvCxnSpPr>
            <p:cNvPr id="20" name="Straight Connector 23">
              <a:extLst>
                <a:ext uri="{FF2B5EF4-FFF2-40B4-BE49-F238E27FC236}">
                  <a16:creationId xmlns:a16="http://schemas.microsoft.com/office/drawing/2014/main" id="{EF703AE8-796A-0A47-605C-8C6281EB21D5}"/>
                </a:ext>
              </a:extLst>
            </p:cNvPr>
            <p:cNvCxnSpPr>
              <a:cxnSpLocks/>
              <a:stCxn id="18" idx="2"/>
              <a:endCxn id="19" idx="0"/>
            </p:cNvCxnSpPr>
            <p:nvPr/>
          </p:nvCxnSpPr>
          <p:spPr>
            <a:xfrm flipH="1">
              <a:off x="8626681" y="3905244"/>
              <a:ext cx="1079002" cy="31231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1" name="Picture 25">
              <a:extLst>
                <a:ext uri="{FF2B5EF4-FFF2-40B4-BE49-F238E27FC236}">
                  <a16:creationId xmlns:a16="http://schemas.microsoft.com/office/drawing/2014/main" id="{C5AA0045-2130-045C-B0E7-35E787584E8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800083" y="4217554"/>
              <a:ext cx="1943506" cy="545490"/>
            </a:xfrm>
            <a:prstGeom prst="rect">
              <a:avLst/>
            </a:prstGeom>
          </p:spPr>
        </p:pic>
        <p:cxnSp>
          <p:nvCxnSpPr>
            <p:cNvPr id="22" name="Straight Connector 27">
              <a:extLst>
                <a:ext uri="{FF2B5EF4-FFF2-40B4-BE49-F238E27FC236}">
                  <a16:creationId xmlns:a16="http://schemas.microsoft.com/office/drawing/2014/main" id="{EA0C0C36-08AB-32D6-1949-AAC6C06765D2}"/>
                </a:ext>
              </a:extLst>
            </p:cNvPr>
            <p:cNvCxnSpPr>
              <a:cxnSpLocks/>
              <a:stCxn id="18" idx="2"/>
              <a:endCxn id="21" idx="0"/>
            </p:cNvCxnSpPr>
            <p:nvPr/>
          </p:nvCxnSpPr>
          <p:spPr>
            <a:xfrm>
              <a:off x="9705685" y="3905244"/>
              <a:ext cx="1066153" cy="31231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3" name="Elemento grafico 22" descr="Utente">
              <a:extLst>
                <a:ext uri="{FF2B5EF4-FFF2-40B4-BE49-F238E27FC236}">
                  <a16:creationId xmlns:a16="http://schemas.microsoft.com/office/drawing/2014/main" id="{8FC9CFE9-9864-B04F-1CA6-A57A21204F94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7878728" y="1536996"/>
              <a:ext cx="1046483" cy="1084505"/>
            </a:xfrm>
            <a:prstGeom prst="rect">
              <a:avLst/>
            </a:prstGeom>
          </p:spPr>
        </p:pic>
      </p:grpSp>
      <p:sp>
        <p:nvSpPr>
          <p:cNvPr id="24" name="CasellaDiTesto 23">
            <a:extLst>
              <a:ext uri="{FF2B5EF4-FFF2-40B4-BE49-F238E27FC236}">
                <a16:creationId xmlns:a16="http://schemas.microsoft.com/office/drawing/2014/main" id="{9592FB8E-4D23-D308-5A67-4F9584B6921C}"/>
              </a:ext>
            </a:extLst>
          </p:cNvPr>
          <p:cNvSpPr txBox="1"/>
          <p:nvPr/>
        </p:nvSpPr>
        <p:spPr>
          <a:xfrm>
            <a:off x="591662" y="363081"/>
            <a:ext cx="1100867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3000" b="1" dirty="0">
                <a:solidFill>
                  <a:srgbClr val="0030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obiettivo </a:t>
            </a:r>
            <a:r>
              <a:rPr lang="it-IT" sz="3000" b="1">
                <a:solidFill>
                  <a:srgbClr val="0030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è creare </a:t>
            </a:r>
            <a:r>
              <a:rPr lang="it-IT" sz="3000" b="1" dirty="0">
                <a:solidFill>
                  <a:srgbClr val="0030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a piattaforma multi </a:t>
            </a:r>
            <a:r>
              <a:rPr lang="it-IT" sz="3000" b="1" dirty="0" err="1">
                <a:solidFill>
                  <a:srgbClr val="0030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dger</a:t>
            </a:r>
            <a:endParaRPr lang="it-IT" sz="3000" b="1" dirty="0">
              <a:solidFill>
                <a:srgbClr val="0030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5" name="Elemento grafico 24" descr="Ricevuta con riempimento a tinta unita">
            <a:extLst>
              <a:ext uri="{FF2B5EF4-FFF2-40B4-BE49-F238E27FC236}">
                <a16:creationId xmlns:a16="http://schemas.microsoft.com/office/drawing/2014/main" id="{C8E91928-7A59-DC92-0DAF-776DD10E9D3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332914" y="2552673"/>
            <a:ext cx="576000" cy="576000"/>
          </a:xfrm>
          <a:prstGeom prst="rect">
            <a:avLst/>
          </a:prstGeom>
        </p:spPr>
      </p:pic>
      <p:pic>
        <p:nvPicPr>
          <p:cNvPr id="26" name="Elemento grafico 25" descr="Portafoglio con riempimento a tinta unita">
            <a:extLst>
              <a:ext uri="{FF2B5EF4-FFF2-40B4-BE49-F238E27FC236}">
                <a16:creationId xmlns:a16="http://schemas.microsoft.com/office/drawing/2014/main" id="{C5429524-4E4B-75CF-809F-D54F5141D434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538620" y="3831989"/>
            <a:ext cx="576000" cy="576000"/>
          </a:xfrm>
          <a:prstGeom prst="rect">
            <a:avLst/>
          </a:prstGeom>
        </p:spPr>
      </p:pic>
      <p:pic>
        <p:nvPicPr>
          <p:cNvPr id="27" name="Elemento grafico 26" descr="Blockchain con riempimento a tinta unita">
            <a:extLst>
              <a:ext uri="{FF2B5EF4-FFF2-40B4-BE49-F238E27FC236}">
                <a16:creationId xmlns:a16="http://schemas.microsoft.com/office/drawing/2014/main" id="{44542B7C-4553-0B6C-8B95-D2D0ECB34F55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5796557" y="2552673"/>
            <a:ext cx="576000" cy="576000"/>
          </a:xfrm>
          <a:prstGeom prst="rect">
            <a:avLst/>
          </a:prstGeom>
        </p:spPr>
      </p:pic>
      <p:pic>
        <p:nvPicPr>
          <p:cNvPr id="28" name="Elemento grafico 27" descr="Blog con riempimento a tinta unita">
            <a:extLst>
              <a:ext uri="{FF2B5EF4-FFF2-40B4-BE49-F238E27FC236}">
                <a16:creationId xmlns:a16="http://schemas.microsoft.com/office/drawing/2014/main" id="{6F3150CC-FF38-7820-D748-3D55C66825A2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2471400" y="3828853"/>
            <a:ext cx="576000" cy="576000"/>
          </a:xfrm>
          <a:prstGeom prst="rect">
            <a:avLst/>
          </a:prstGeom>
        </p:spPr>
      </p:pic>
      <p:cxnSp>
        <p:nvCxnSpPr>
          <p:cNvPr id="29" name="Connettore 2 28">
            <a:extLst>
              <a:ext uri="{FF2B5EF4-FFF2-40B4-BE49-F238E27FC236}">
                <a16:creationId xmlns:a16="http://schemas.microsoft.com/office/drawing/2014/main" id="{653A8163-1BC4-6F32-D7D0-43C55F3D4573}"/>
              </a:ext>
            </a:extLst>
          </p:cNvPr>
          <p:cNvCxnSpPr>
            <a:cxnSpLocks/>
          </p:cNvCxnSpPr>
          <p:nvPr/>
        </p:nvCxnSpPr>
        <p:spPr>
          <a:xfrm flipH="1">
            <a:off x="9852803" y="1580984"/>
            <a:ext cx="1" cy="459365"/>
          </a:xfrm>
          <a:prstGeom prst="straightConnector1">
            <a:avLst/>
          </a:prstGeom>
          <a:ln w="19050">
            <a:solidFill>
              <a:srgbClr val="002060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Segnaposto numero diapositiva 5">
            <a:extLst>
              <a:ext uri="{FF2B5EF4-FFF2-40B4-BE49-F238E27FC236}">
                <a16:creationId xmlns:a16="http://schemas.microsoft.com/office/drawing/2014/main" id="{70A8BEF3-8E14-9F3E-CA97-C22840E9AACE}"/>
              </a:ext>
            </a:extLst>
          </p:cNvPr>
          <p:cNvSpPr txBox="1">
            <a:spLocks/>
          </p:cNvSpPr>
          <p:nvPr/>
        </p:nvSpPr>
        <p:spPr>
          <a:xfrm>
            <a:off x="11374438" y="6315075"/>
            <a:ext cx="81756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t-IT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fld id="{B7C8ED99-00F4-7E4D-A2B9-6ECAF68FD4D2}" type="slidenum">
              <a:rPr lang="it-IT" sz="140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l">
                <a:defRPr/>
              </a:pPr>
              <a:t>13</a:t>
            </a:fld>
            <a:endParaRPr lang="it-IT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0093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608C735C-2DA1-3465-C663-78C05E35CBE3}"/>
              </a:ext>
            </a:extLst>
          </p:cNvPr>
          <p:cNvSpPr txBox="1">
            <a:spLocks/>
          </p:cNvSpPr>
          <p:nvPr/>
        </p:nvSpPr>
        <p:spPr>
          <a:xfrm>
            <a:off x="838200" y="304725"/>
            <a:ext cx="10515600" cy="5397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3000" b="1">
                <a:solidFill>
                  <a:srgbClr val="0030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n Architecture - Ecosistema: una piattaforma aperta</a:t>
            </a:r>
            <a:endParaRPr lang="it-IT" sz="3000" b="1" dirty="0">
              <a:solidFill>
                <a:srgbClr val="0030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reccia a destra 2">
            <a:extLst>
              <a:ext uri="{FF2B5EF4-FFF2-40B4-BE49-F238E27FC236}">
                <a16:creationId xmlns:a16="http://schemas.microsoft.com/office/drawing/2014/main" id="{C97193F1-952E-3734-DF78-BC22E5FDE248}"/>
              </a:ext>
            </a:extLst>
          </p:cNvPr>
          <p:cNvSpPr/>
          <p:nvPr/>
        </p:nvSpPr>
        <p:spPr>
          <a:xfrm rot="5400000">
            <a:off x="10111887" y="2922015"/>
            <a:ext cx="1225873" cy="589856"/>
          </a:xfrm>
          <a:prstGeom prst="rightArrow">
            <a:avLst/>
          </a:prstGeom>
          <a:solidFill>
            <a:srgbClr val="C4D6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4" name="Rettangolo con angoli arrotondati 3">
            <a:extLst>
              <a:ext uri="{FF2B5EF4-FFF2-40B4-BE49-F238E27FC236}">
                <a16:creationId xmlns:a16="http://schemas.microsoft.com/office/drawing/2014/main" id="{E530322F-DF23-B446-88C0-FC759B9C1EA7}"/>
              </a:ext>
            </a:extLst>
          </p:cNvPr>
          <p:cNvSpPr/>
          <p:nvPr/>
        </p:nvSpPr>
        <p:spPr>
          <a:xfrm>
            <a:off x="547210" y="1146464"/>
            <a:ext cx="3825462" cy="714965"/>
          </a:xfrm>
          <a:prstGeom prst="roundRect">
            <a:avLst/>
          </a:prstGeom>
          <a:solidFill>
            <a:srgbClr val="0030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>
                <a:latin typeface="Arial" panose="020B0604020202020204" pitchFamily="34" charset="0"/>
                <a:cs typeface="Arial" panose="020B0604020202020204" pitchFamily="34" charset="0"/>
              </a:rPr>
              <a:t>GARANTITI</a:t>
            </a:r>
            <a:r>
              <a:rPr lang="it-IT">
                <a:latin typeface="Arial" panose="020B0604020202020204" pitchFamily="34" charset="0"/>
                <a:cs typeface="Arial" panose="020B0604020202020204" pitchFamily="34" charset="0"/>
              </a:rPr>
              <a:t> (Stazioni Appaltanti)</a:t>
            </a:r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ttangolo con angoli arrotondati 4">
            <a:extLst>
              <a:ext uri="{FF2B5EF4-FFF2-40B4-BE49-F238E27FC236}">
                <a16:creationId xmlns:a16="http://schemas.microsoft.com/office/drawing/2014/main" id="{8BC2A5F8-C8B5-900B-B059-3383B407248D}"/>
              </a:ext>
            </a:extLst>
          </p:cNvPr>
          <p:cNvSpPr/>
          <p:nvPr/>
        </p:nvSpPr>
        <p:spPr>
          <a:xfrm rot="16200000">
            <a:off x="9160616" y="-179024"/>
            <a:ext cx="1148079" cy="3799056"/>
          </a:xfrm>
          <a:prstGeom prst="roundRect">
            <a:avLst/>
          </a:prstGeom>
          <a:solidFill>
            <a:srgbClr val="0030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it-IT" b="1">
                <a:latin typeface="Arial" panose="020B0604020202020204" pitchFamily="34" charset="0"/>
                <a:cs typeface="Arial" panose="020B0604020202020204" pitchFamily="34" charset="0"/>
              </a:rPr>
              <a:t>GARANTI</a:t>
            </a:r>
            <a:r>
              <a:rPr lang="it-IT">
                <a:latin typeface="Arial" panose="020B0604020202020204" pitchFamily="34" charset="0"/>
                <a:cs typeface="Arial" panose="020B0604020202020204" pitchFamily="34" charset="0"/>
              </a:rPr>
              <a:t> (Banche e Assicurazioni)</a:t>
            </a:r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ttangolo con angoli arrotondati 5">
            <a:extLst>
              <a:ext uri="{FF2B5EF4-FFF2-40B4-BE49-F238E27FC236}">
                <a16:creationId xmlns:a16="http://schemas.microsoft.com/office/drawing/2014/main" id="{75131E2C-8820-2059-C200-E8C5ABEEF64A}"/>
              </a:ext>
            </a:extLst>
          </p:cNvPr>
          <p:cNvSpPr/>
          <p:nvPr/>
        </p:nvSpPr>
        <p:spPr>
          <a:xfrm rot="16200000">
            <a:off x="2097682" y="449133"/>
            <a:ext cx="716038" cy="3833940"/>
          </a:xfrm>
          <a:prstGeom prst="roundRect">
            <a:avLst/>
          </a:prstGeom>
          <a:solidFill>
            <a:srgbClr val="0030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it-IT" b="1">
                <a:latin typeface="Arial" panose="020B0604020202020204" pitchFamily="34" charset="0"/>
                <a:cs typeface="Arial" panose="020B0604020202020204" pitchFamily="34" charset="0"/>
              </a:rPr>
              <a:t>CONTRAENTI</a:t>
            </a:r>
            <a:r>
              <a:rPr lang="it-IT">
                <a:latin typeface="Arial" panose="020B0604020202020204" pitchFamily="34" charset="0"/>
                <a:cs typeface="Arial" panose="020B0604020202020204" pitchFamily="34" charset="0"/>
              </a:rPr>
              <a:t> (Imprese)</a:t>
            </a:r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Callout con freccia in giù 33">
            <a:extLst>
              <a:ext uri="{FF2B5EF4-FFF2-40B4-BE49-F238E27FC236}">
                <a16:creationId xmlns:a16="http://schemas.microsoft.com/office/drawing/2014/main" id="{C59C11B1-AD9F-47AD-D1B3-CE561511CB3A}"/>
              </a:ext>
            </a:extLst>
          </p:cNvPr>
          <p:cNvSpPr/>
          <p:nvPr/>
        </p:nvSpPr>
        <p:spPr>
          <a:xfrm>
            <a:off x="547208" y="2864485"/>
            <a:ext cx="3825463" cy="960912"/>
          </a:xfrm>
          <a:prstGeom prst="downArrowCallout">
            <a:avLst>
              <a:gd name="adj1" fmla="val 25037"/>
              <a:gd name="adj2" fmla="val 28201"/>
              <a:gd name="adj3" fmla="val 34124"/>
              <a:gd name="adj4" fmla="val 55242"/>
            </a:avLst>
          </a:prstGeom>
          <a:solidFill>
            <a:srgbClr val="C4D600"/>
          </a:solidFill>
          <a:ln>
            <a:noFill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>
                <a:latin typeface="Arial" panose="020B0604020202020204" pitchFamily="34" charset="0"/>
                <a:cs typeface="Arial" panose="020B0604020202020204" pitchFamily="34" charset="0"/>
              </a:rPr>
              <a:t>Interfaccia Cetif</a:t>
            </a:r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B99A01BF-7C43-C6BC-6D35-798344E43E84}"/>
              </a:ext>
            </a:extLst>
          </p:cNvPr>
          <p:cNvSpPr txBox="1"/>
          <p:nvPr/>
        </p:nvSpPr>
        <p:spPr>
          <a:xfrm>
            <a:off x="5130152" y="3953044"/>
            <a:ext cx="19133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RZE PARTI</a:t>
            </a:r>
          </a:p>
        </p:txBody>
      </p:sp>
      <p:pic>
        <p:nvPicPr>
          <p:cNvPr id="9" name="Immagine 8">
            <a:extLst>
              <a:ext uri="{FF2B5EF4-FFF2-40B4-BE49-F238E27FC236}">
                <a16:creationId xmlns:a16="http://schemas.microsoft.com/office/drawing/2014/main" id="{FF215B08-2F28-710B-1C2C-1BFCC25CE0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800000" flipV="1">
            <a:off x="3453736" y="2912933"/>
            <a:ext cx="432007" cy="432007"/>
          </a:xfrm>
          <a:prstGeom prst="rect">
            <a:avLst/>
          </a:prstGeom>
        </p:spPr>
      </p:pic>
      <p:sp>
        <p:nvSpPr>
          <p:cNvPr id="10" name="Freccia a destra 9">
            <a:extLst>
              <a:ext uri="{FF2B5EF4-FFF2-40B4-BE49-F238E27FC236}">
                <a16:creationId xmlns:a16="http://schemas.microsoft.com/office/drawing/2014/main" id="{47B8C56D-728B-9651-9BF0-E81E130AAD4D}"/>
              </a:ext>
            </a:extLst>
          </p:cNvPr>
          <p:cNvSpPr/>
          <p:nvPr/>
        </p:nvSpPr>
        <p:spPr>
          <a:xfrm rot="5400000">
            <a:off x="8141951" y="2922015"/>
            <a:ext cx="1225873" cy="589856"/>
          </a:xfrm>
          <a:prstGeom prst="rightArrow">
            <a:avLst/>
          </a:prstGeom>
          <a:solidFill>
            <a:srgbClr val="C4D6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11" name="Triangolo isoscele 10">
            <a:extLst>
              <a:ext uri="{FF2B5EF4-FFF2-40B4-BE49-F238E27FC236}">
                <a16:creationId xmlns:a16="http://schemas.microsoft.com/office/drawing/2014/main" id="{8DC97C01-C5EA-FD37-574F-170895D295F7}"/>
              </a:ext>
            </a:extLst>
          </p:cNvPr>
          <p:cNvSpPr/>
          <p:nvPr/>
        </p:nvSpPr>
        <p:spPr>
          <a:xfrm rot="16200000">
            <a:off x="5907592" y="3121677"/>
            <a:ext cx="3074924" cy="369332"/>
          </a:xfrm>
          <a:prstGeom prst="triangle">
            <a:avLst/>
          </a:prstGeom>
          <a:solidFill>
            <a:srgbClr val="D7D2CB"/>
          </a:solidFill>
          <a:ln>
            <a:solidFill>
              <a:srgbClr val="D7D2C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12" name="Triangolo isoscele 11">
            <a:extLst>
              <a:ext uri="{FF2B5EF4-FFF2-40B4-BE49-F238E27FC236}">
                <a16:creationId xmlns:a16="http://schemas.microsoft.com/office/drawing/2014/main" id="{C96D6E03-78C8-8273-74CE-FAF943650DD5}"/>
              </a:ext>
            </a:extLst>
          </p:cNvPr>
          <p:cNvSpPr/>
          <p:nvPr/>
        </p:nvSpPr>
        <p:spPr>
          <a:xfrm rot="5400000">
            <a:off x="3207293" y="3136917"/>
            <a:ext cx="3074924" cy="369332"/>
          </a:xfrm>
          <a:prstGeom prst="triangle">
            <a:avLst/>
          </a:prstGeom>
          <a:solidFill>
            <a:srgbClr val="D7D2CB"/>
          </a:solidFill>
          <a:ln>
            <a:solidFill>
              <a:srgbClr val="D7D2C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13" name="Rettangolo 12">
            <a:extLst>
              <a:ext uri="{FF2B5EF4-FFF2-40B4-BE49-F238E27FC236}">
                <a16:creationId xmlns:a16="http://schemas.microsoft.com/office/drawing/2014/main" id="{45D2D095-2464-EB59-E745-2E5B3790E32E}"/>
              </a:ext>
            </a:extLst>
          </p:cNvPr>
          <p:cNvSpPr/>
          <p:nvPr/>
        </p:nvSpPr>
        <p:spPr>
          <a:xfrm>
            <a:off x="7835128" y="2411480"/>
            <a:ext cx="3799053" cy="959991"/>
          </a:xfrm>
          <a:prstGeom prst="rect">
            <a:avLst/>
          </a:prstGeom>
          <a:solidFill>
            <a:srgbClr val="C4D6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Interfaccia Garanti</a:t>
            </a:r>
          </a:p>
          <a:p>
            <a:pPr algn="ctr">
              <a:lnSpc>
                <a:spcPct val="150000"/>
              </a:lnSpc>
            </a:pP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Possibilità di scelta</a:t>
            </a:r>
          </a:p>
        </p:txBody>
      </p:sp>
      <p:pic>
        <p:nvPicPr>
          <p:cNvPr id="14" name="Immagine 13">
            <a:extLst>
              <a:ext uri="{FF2B5EF4-FFF2-40B4-BE49-F238E27FC236}">
                <a16:creationId xmlns:a16="http://schemas.microsoft.com/office/drawing/2014/main" id="{068A40B0-ADB1-EC32-D4E6-D00875DFF5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0800000" flipV="1">
            <a:off x="8108957" y="2731673"/>
            <a:ext cx="478482" cy="478482"/>
          </a:xfrm>
          <a:prstGeom prst="rect">
            <a:avLst/>
          </a:prstGeom>
        </p:spPr>
      </p:pic>
      <p:pic>
        <p:nvPicPr>
          <p:cNvPr id="15" name="Immagine 14">
            <a:extLst>
              <a:ext uri="{FF2B5EF4-FFF2-40B4-BE49-F238E27FC236}">
                <a16:creationId xmlns:a16="http://schemas.microsoft.com/office/drawing/2014/main" id="{EAFD7F05-FC38-E034-3A2D-630F88A28B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30550" y="4098259"/>
            <a:ext cx="1857987" cy="1490477"/>
          </a:xfrm>
          <a:prstGeom prst="rect">
            <a:avLst/>
          </a:prstGeom>
        </p:spPr>
      </p:pic>
      <p:pic>
        <p:nvPicPr>
          <p:cNvPr id="16" name="Picture 21">
            <a:extLst>
              <a:ext uri="{FF2B5EF4-FFF2-40B4-BE49-F238E27FC236}">
                <a16:creationId xmlns:a16="http://schemas.microsoft.com/office/drawing/2014/main" id="{8A850AF2-49F6-8498-3328-F5DCF37AC50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49440" y="5658811"/>
            <a:ext cx="964849" cy="238650"/>
          </a:xfrm>
          <a:prstGeom prst="rect">
            <a:avLst/>
          </a:prstGeom>
        </p:spPr>
      </p:pic>
      <p:sp>
        <p:nvSpPr>
          <p:cNvPr id="17" name="Rettangolo arrotondato 3">
            <a:extLst>
              <a:ext uri="{FF2B5EF4-FFF2-40B4-BE49-F238E27FC236}">
                <a16:creationId xmlns:a16="http://schemas.microsoft.com/office/drawing/2014/main" id="{625FD76C-50A8-A85D-41AE-B97252476585}"/>
              </a:ext>
            </a:extLst>
          </p:cNvPr>
          <p:cNvSpPr/>
          <p:nvPr/>
        </p:nvSpPr>
        <p:spPr>
          <a:xfrm>
            <a:off x="7874718" y="3928335"/>
            <a:ext cx="1742826" cy="2135860"/>
          </a:xfrm>
          <a:prstGeom prst="roundRect">
            <a:avLst/>
          </a:prstGeom>
          <a:noFill/>
          <a:ln w="38100">
            <a:solidFill>
              <a:srgbClr val="C4D600"/>
            </a:solidFill>
            <a:prstDash val="dash"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39388" tIns="39388" rIns="39388" bIns="39388" rtlCol="0" anchor="ctr">
            <a:noAutofit/>
          </a:bodyPr>
          <a:lstStyle/>
          <a:p>
            <a:pPr algn="ctr" defTabSz="895375" eaLnBrk="1" hangingPunct="1">
              <a:tabLst>
                <a:tab pos="269883" algn="l"/>
              </a:tabLst>
            </a:pPr>
            <a:endParaRPr lang="it-IT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Immagine 17">
            <a:extLst>
              <a:ext uri="{FF2B5EF4-FFF2-40B4-BE49-F238E27FC236}">
                <a16:creationId xmlns:a16="http://schemas.microsoft.com/office/drawing/2014/main" id="{3F8E18FB-5C63-4391-5BB5-77CFA5632A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95282" y="4095773"/>
            <a:ext cx="1857987" cy="1490477"/>
          </a:xfrm>
          <a:prstGeom prst="rect">
            <a:avLst/>
          </a:prstGeom>
        </p:spPr>
      </p:pic>
      <p:pic>
        <p:nvPicPr>
          <p:cNvPr id="19" name="Immagine 18">
            <a:extLst>
              <a:ext uri="{FF2B5EF4-FFF2-40B4-BE49-F238E27FC236}">
                <a16:creationId xmlns:a16="http://schemas.microsoft.com/office/drawing/2014/main" id="{1A04DEF3-E3EA-17BB-BF22-402F4D31140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965758" y="5575396"/>
            <a:ext cx="1517033" cy="310477"/>
          </a:xfrm>
          <a:prstGeom prst="rect">
            <a:avLst/>
          </a:prstGeom>
        </p:spPr>
      </p:pic>
      <p:sp>
        <p:nvSpPr>
          <p:cNvPr id="20" name="Rettangolo arrotondato 3">
            <a:extLst>
              <a:ext uri="{FF2B5EF4-FFF2-40B4-BE49-F238E27FC236}">
                <a16:creationId xmlns:a16="http://schemas.microsoft.com/office/drawing/2014/main" id="{30A15A76-2132-E2D4-CEAA-0F1B0E215F84}"/>
              </a:ext>
            </a:extLst>
          </p:cNvPr>
          <p:cNvSpPr/>
          <p:nvPr/>
        </p:nvSpPr>
        <p:spPr>
          <a:xfrm>
            <a:off x="9825875" y="3904195"/>
            <a:ext cx="1742826" cy="2160000"/>
          </a:xfrm>
          <a:prstGeom prst="roundRect">
            <a:avLst/>
          </a:prstGeom>
          <a:noFill/>
          <a:ln w="38100">
            <a:solidFill>
              <a:srgbClr val="C4D600"/>
            </a:solidFill>
            <a:prstDash val="dash"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39388" tIns="39388" rIns="39388" bIns="39388" rtlCol="0" anchor="ctr">
            <a:noAutofit/>
          </a:bodyPr>
          <a:lstStyle/>
          <a:p>
            <a:pPr algn="ctr" defTabSz="895375" eaLnBrk="1" hangingPunct="1">
              <a:tabLst>
                <a:tab pos="269883" algn="l"/>
              </a:tabLst>
            </a:pPr>
            <a:endParaRPr lang="it-IT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1" name="Gruppo 20">
            <a:extLst>
              <a:ext uri="{FF2B5EF4-FFF2-40B4-BE49-F238E27FC236}">
                <a16:creationId xmlns:a16="http://schemas.microsoft.com/office/drawing/2014/main" id="{D09CF910-CA87-8960-A810-8D7FC756A96A}"/>
              </a:ext>
            </a:extLst>
          </p:cNvPr>
          <p:cNvGrpSpPr>
            <a:grpSpLocks noChangeAspect="1"/>
          </p:cNvGrpSpPr>
          <p:nvPr/>
        </p:nvGrpSpPr>
        <p:grpSpPr>
          <a:xfrm>
            <a:off x="722310" y="3904196"/>
            <a:ext cx="3544890" cy="2160000"/>
            <a:chOff x="891388" y="3852404"/>
            <a:chExt cx="3921371" cy="2389399"/>
          </a:xfrm>
        </p:grpSpPr>
        <p:sp>
          <p:nvSpPr>
            <p:cNvPr id="22" name="Rettangolo arrotondato 3">
              <a:extLst>
                <a:ext uri="{FF2B5EF4-FFF2-40B4-BE49-F238E27FC236}">
                  <a16:creationId xmlns:a16="http://schemas.microsoft.com/office/drawing/2014/main" id="{6EED6E02-33AD-5933-3476-6FFC5605DFC0}"/>
                </a:ext>
              </a:extLst>
            </p:cNvPr>
            <p:cNvSpPr/>
            <p:nvPr/>
          </p:nvSpPr>
          <p:spPr>
            <a:xfrm>
              <a:off x="900889" y="3852404"/>
              <a:ext cx="3825463" cy="2389399"/>
            </a:xfrm>
            <a:prstGeom prst="roundRect">
              <a:avLst/>
            </a:prstGeom>
            <a:noFill/>
            <a:ln w="38100">
              <a:solidFill>
                <a:srgbClr val="C4D600"/>
              </a:solidFill>
              <a:prstDash val="dash"/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39388" tIns="39388" rIns="39388" bIns="39388" rtlCol="0" anchor="ctr">
              <a:noAutofit/>
            </a:bodyPr>
            <a:lstStyle/>
            <a:p>
              <a:pPr algn="ctr" defTabSz="895375" eaLnBrk="1" hangingPunct="1">
                <a:tabLst>
                  <a:tab pos="269883" algn="l"/>
                </a:tabLst>
              </a:pPr>
              <a:endParaRPr lang="it-IT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3" name="Picture 21">
              <a:extLst>
                <a:ext uri="{FF2B5EF4-FFF2-40B4-BE49-F238E27FC236}">
                  <a16:creationId xmlns:a16="http://schemas.microsoft.com/office/drawing/2014/main" id="{4471C77A-3DD7-FED8-9041-4037E8641C5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315483" y="5755901"/>
              <a:ext cx="964849" cy="266979"/>
            </a:xfrm>
            <a:prstGeom prst="rect">
              <a:avLst/>
            </a:prstGeom>
          </p:spPr>
        </p:pic>
        <p:pic>
          <p:nvPicPr>
            <p:cNvPr id="24" name="Immagine 23">
              <a:extLst>
                <a:ext uri="{FF2B5EF4-FFF2-40B4-BE49-F238E27FC236}">
                  <a16:creationId xmlns:a16="http://schemas.microsoft.com/office/drawing/2014/main" id="{E69C631E-CAC8-1274-A9DA-0C4B958A81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91388" y="4010102"/>
              <a:ext cx="1857987" cy="1667406"/>
            </a:xfrm>
            <a:prstGeom prst="rect">
              <a:avLst/>
            </a:prstGeom>
          </p:spPr>
        </p:pic>
        <p:pic>
          <p:nvPicPr>
            <p:cNvPr id="25" name="Immagine 24">
              <a:extLst>
                <a:ext uri="{FF2B5EF4-FFF2-40B4-BE49-F238E27FC236}">
                  <a16:creationId xmlns:a16="http://schemas.microsoft.com/office/drawing/2014/main" id="{89F6A6B4-7421-6B2C-3E74-162214A726A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861325" y="4007320"/>
              <a:ext cx="1951434" cy="1751268"/>
            </a:xfrm>
            <a:prstGeom prst="rect">
              <a:avLst/>
            </a:prstGeom>
          </p:spPr>
        </p:pic>
        <p:pic>
          <p:nvPicPr>
            <p:cNvPr id="26" name="Immagine 25">
              <a:extLst>
                <a:ext uri="{FF2B5EF4-FFF2-40B4-BE49-F238E27FC236}">
                  <a16:creationId xmlns:a16="http://schemas.microsoft.com/office/drawing/2014/main" id="{E8BE00F1-B625-62F5-85BF-F92EC6DAF44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031801" y="5662584"/>
              <a:ext cx="1517033" cy="347332"/>
            </a:xfrm>
            <a:prstGeom prst="rect">
              <a:avLst/>
            </a:prstGeom>
          </p:spPr>
        </p:pic>
      </p:grpSp>
      <p:sp>
        <p:nvSpPr>
          <p:cNvPr id="27" name="Callout con freccia in giù 33">
            <a:extLst>
              <a:ext uri="{FF2B5EF4-FFF2-40B4-BE49-F238E27FC236}">
                <a16:creationId xmlns:a16="http://schemas.microsoft.com/office/drawing/2014/main" id="{00A4503B-AB0E-2846-1EE2-5E8E898AC4FB}"/>
              </a:ext>
            </a:extLst>
          </p:cNvPr>
          <p:cNvSpPr/>
          <p:nvPr/>
        </p:nvSpPr>
        <p:spPr>
          <a:xfrm>
            <a:off x="547208" y="2864486"/>
            <a:ext cx="3825463" cy="960912"/>
          </a:xfrm>
          <a:prstGeom prst="downArrowCallout">
            <a:avLst>
              <a:gd name="adj1" fmla="val 25037"/>
              <a:gd name="adj2" fmla="val 28201"/>
              <a:gd name="adj3" fmla="val 34124"/>
              <a:gd name="adj4" fmla="val 55242"/>
            </a:avLst>
          </a:prstGeom>
          <a:solidFill>
            <a:srgbClr val="C4D600"/>
          </a:solidFill>
          <a:ln>
            <a:noFill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>
                <a:latin typeface="Arial" panose="020B0604020202020204" pitchFamily="34" charset="0"/>
                <a:cs typeface="Arial" panose="020B0604020202020204" pitchFamily="34" charset="0"/>
              </a:rPr>
              <a:t>Interfaccia Cetif</a:t>
            </a:r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Freccia a destra 27">
            <a:extLst>
              <a:ext uri="{FF2B5EF4-FFF2-40B4-BE49-F238E27FC236}">
                <a16:creationId xmlns:a16="http://schemas.microsoft.com/office/drawing/2014/main" id="{929DC7EF-B468-83EC-AF75-AFFF0DF1EEBF}"/>
              </a:ext>
            </a:extLst>
          </p:cNvPr>
          <p:cNvSpPr/>
          <p:nvPr/>
        </p:nvSpPr>
        <p:spPr>
          <a:xfrm rot="5400000">
            <a:off x="8141951" y="2922016"/>
            <a:ext cx="1225873" cy="589856"/>
          </a:xfrm>
          <a:prstGeom prst="rightArrow">
            <a:avLst/>
          </a:prstGeom>
          <a:solidFill>
            <a:srgbClr val="C4D6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29" name="Rettangolo 28">
            <a:extLst>
              <a:ext uri="{FF2B5EF4-FFF2-40B4-BE49-F238E27FC236}">
                <a16:creationId xmlns:a16="http://schemas.microsoft.com/office/drawing/2014/main" id="{238E8EE4-0CAB-A24C-92F7-DB83C548ECE9}"/>
              </a:ext>
            </a:extLst>
          </p:cNvPr>
          <p:cNvSpPr/>
          <p:nvPr/>
        </p:nvSpPr>
        <p:spPr>
          <a:xfrm>
            <a:off x="7835128" y="2411481"/>
            <a:ext cx="3799053" cy="959991"/>
          </a:xfrm>
          <a:prstGeom prst="rect">
            <a:avLst/>
          </a:prstGeom>
          <a:solidFill>
            <a:srgbClr val="C4D6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Interfaccia Garanti</a:t>
            </a:r>
          </a:p>
          <a:p>
            <a:pPr algn="ctr">
              <a:lnSpc>
                <a:spcPct val="150000"/>
              </a:lnSpc>
            </a:pP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Possibilità di scelta</a:t>
            </a:r>
          </a:p>
        </p:txBody>
      </p:sp>
      <p:sp>
        <p:nvSpPr>
          <p:cNvPr id="30" name="Freccia a destra 29">
            <a:extLst>
              <a:ext uri="{FF2B5EF4-FFF2-40B4-BE49-F238E27FC236}">
                <a16:creationId xmlns:a16="http://schemas.microsoft.com/office/drawing/2014/main" id="{A89A265A-F296-C2BB-73AB-B1493A273AE4}"/>
              </a:ext>
            </a:extLst>
          </p:cNvPr>
          <p:cNvSpPr/>
          <p:nvPr/>
        </p:nvSpPr>
        <p:spPr>
          <a:xfrm rot="5400000">
            <a:off x="10111887" y="2922016"/>
            <a:ext cx="1225873" cy="589856"/>
          </a:xfrm>
          <a:prstGeom prst="rightArrow">
            <a:avLst/>
          </a:prstGeom>
          <a:solidFill>
            <a:srgbClr val="D7D2CB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31" name="Callout con freccia in giù 33">
            <a:extLst>
              <a:ext uri="{FF2B5EF4-FFF2-40B4-BE49-F238E27FC236}">
                <a16:creationId xmlns:a16="http://schemas.microsoft.com/office/drawing/2014/main" id="{FB80CE3E-4B8F-8A43-B58D-ECD9A3B0486B}"/>
              </a:ext>
            </a:extLst>
          </p:cNvPr>
          <p:cNvSpPr/>
          <p:nvPr/>
        </p:nvSpPr>
        <p:spPr>
          <a:xfrm>
            <a:off x="547208" y="2864487"/>
            <a:ext cx="3825463" cy="960912"/>
          </a:xfrm>
          <a:prstGeom prst="downArrowCallout">
            <a:avLst>
              <a:gd name="adj1" fmla="val 25037"/>
              <a:gd name="adj2" fmla="val 28201"/>
              <a:gd name="adj3" fmla="val 34124"/>
              <a:gd name="adj4" fmla="val 55242"/>
            </a:avLst>
          </a:prstGeom>
          <a:solidFill>
            <a:srgbClr val="D7D2CB"/>
          </a:solidFill>
          <a:ln>
            <a:noFill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Interfaccia </a:t>
            </a:r>
            <a:r>
              <a:rPr lang="it-IT" dirty="0" err="1">
                <a:latin typeface="Arial" panose="020B0604020202020204" pitchFamily="34" charset="0"/>
                <a:cs typeface="Arial" panose="020B0604020202020204" pitchFamily="34" charset="0"/>
              </a:rPr>
              <a:t>Cetif</a:t>
            </a:r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Freccia a destra 31">
            <a:extLst>
              <a:ext uri="{FF2B5EF4-FFF2-40B4-BE49-F238E27FC236}">
                <a16:creationId xmlns:a16="http://schemas.microsoft.com/office/drawing/2014/main" id="{2E7C0130-7A70-3D7F-AA42-EE286A4E687F}"/>
              </a:ext>
            </a:extLst>
          </p:cNvPr>
          <p:cNvSpPr/>
          <p:nvPr/>
        </p:nvSpPr>
        <p:spPr>
          <a:xfrm rot="5400000">
            <a:off x="8141951" y="2922015"/>
            <a:ext cx="1225873" cy="589856"/>
          </a:xfrm>
          <a:prstGeom prst="rightArrow">
            <a:avLst/>
          </a:prstGeom>
          <a:solidFill>
            <a:srgbClr val="D7D2CB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33" name="Rettangolo 32">
            <a:extLst>
              <a:ext uri="{FF2B5EF4-FFF2-40B4-BE49-F238E27FC236}">
                <a16:creationId xmlns:a16="http://schemas.microsoft.com/office/drawing/2014/main" id="{E4FEC0B7-0EBF-C2A1-DAD5-33349676C7A6}"/>
              </a:ext>
            </a:extLst>
          </p:cNvPr>
          <p:cNvSpPr/>
          <p:nvPr/>
        </p:nvSpPr>
        <p:spPr>
          <a:xfrm>
            <a:off x="7835128" y="2411482"/>
            <a:ext cx="3799053" cy="959991"/>
          </a:xfrm>
          <a:prstGeom prst="rect">
            <a:avLst/>
          </a:prstGeom>
          <a:solidFill>
            <a:srgbClr val="D7D2CB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Interfaccia Garanti</a:t>
            </a:r>
          </a:p>
          <a:p>
            <a:pPr algn="ctr">
              <a:lnSpc>
                <a:spcPct val="150000"/>
              </a:lnSpc>
            </a:pP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Possibilità di scelta</a:t>
            </a:r>
          </a:p>
        </p:txBody>
      </p:sp>
      <p:sp>
        <p:nvSpPr>
          <p:cNvPr id="34" name="Triangolo isoscele 33">
            <a:extLst>
              <a:ext uri="{FF2B5EF4-FFF2-40B4-BE49-F238E27FC236}">
                <a16:creationId xmlns:a16="http://schemas.microsoft.com/office/drawing/2014/main" id="{1B2B57CE-1145-BF2B-3371-C57959082CED}"/>
              </a:ext>
            </a:extLst>
          </p:cNvPr>
          <p:cNvSpPr/>
          <p:nvPr/>
        </p:nvSpPr>
        <p:spPr>
          <a:xfrm rot="16200000">
            <a:off x="5907493" y="3114235"/>
            <a:ext cx="3074924" cy="369332"/>
          </a:xfrm>
          <a:prstGeom prst="triangle">
            <a:avLst/>
          </a:prstGeom>
          <a:solidFill>
            <a:srgbClr val="D7D2CB"/>
          </a:solidFill>
          <a:ln>
            <a:solidFill>
              <a:srgbClr val="D7D2C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35" name="Triangolo isoscele 34">
            <a:extLst>
              <a:ext uri="{FF2B5EF4-FFF2-40B4-BE49-F238E27FC236}">
                <a16:creationId xmlns:a16="http://schemas.microsoft.com/office/drawing/2014/main" id="{66CC6A49-2F2F-1ACD-A796-C1BFAE585941}"/>
              </a:ext>
            </a:extLst>
          </p:cNvPr>
          <p:cNvSpPr/>
          <p:nvPr/>
        </p:nvSpPr>
        <p:spPr>
          <a:xfrm rot="5400000">
            <a:off x="3207194" y="3129475"/>
            <a:ext cx="3074924" cy="369332"/>
          </a:xfrm>
          <a:prstGeom prst="triangle">
            <a:avLst/>
          </a:prstGeom>
          <a:solidFill>
            <a:srgbClr val="D7D2CB"/>
          </a:solidFill>
          <a:ln>
            <a:solidFill>
              <a:srgbClr val="D7D2C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36" name="Callout con freccia in giù 33">
            <a:extLst>
              <a:ext uri="{FF2B5EF4-FFF2-40B4-BE49-F238E27FC236}">
                <a16:creationId xmlns:a16="http://schemas.microsoft.com/office/drawing/2014/main" id="{F36ADFE0-CF47-E59B-1263-16B6A0502A96}"/>
              </a:ext>
            </a:extLst>
          </p:cNvPr>
          <p:cNvSpPr/>
          <p:nvPr/>
        </p:nvSpPr>
        <p:spPr>
          <a:xfrm>
            <a:off x="547109" y="2857045"/>
            <a:ext cx="3825463" cy="960912"/>
          </a:xfrm>
          <a:prstGeom prst="downArrowCallout">
            <a:avLst>
              <a:gd name="adj1" fmla="val 25037"/>
              <a:gd name="adj2" fmla="val 28201"/>
              <a:gd name="adj3" fmla="val 34124"/>
              <a:gd name="adj4" fmla="val 55242"/>
            </a:avLst>
          </a:prstGeom>
          <a:solidFill>
            <a:srgbClr val="D7D2CB"/>
          </a:solidFill>
          <a:ln>
            <a:noFill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Interfaccia </a:t>
            </a:r>
            <a:r>
              <a:rPr lang="it-IT" dirty="0" err="1">
                <a:latin typeface="Arial" panose="020B0604020202020204" pitchFamily="34" charset="0"/>
                <a:cs typeface="Arial" panose="020B0604020202020204" pitchFamily="34" charset="0"/>
              </a:rPr>
              <a:t>Cetif</a:t>
            </a:r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Freccia a destra 36">
            <a:extLst>
              <a:ext uri="{FF2B5EF4-FFF2-40B4-BE49-F238E27FC236}">
                <a16:creationId xmlns:a16="http://schemas.microsoft.com/office/drawing/2014/main" id="{043291CC-B6ED-F169-8053-038B295BC453}"/>
              </a:ext>
            </a:extLst>
          </p:cNvPr>
          <p:cNvSpPr/>
          <p:nvPr/>
        </p:nvSpPr>
        <p:spPr>
          <a:xfrm rot="5400000">
            <a:off x="8141951" y="2920547"/>
            <a:ext cx="1225873" cy="589856"/>
          </a:xfrm>
          <a:prstGeom prst="rightArrow">
            <a:avLst/>
          </a:prstGeom>
          <a:solidFill>
            <a:srgbClr val="D7D2CB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38" name="Rettangolo 37">
            <a:extLst>
              <a:ext uri="{FF2B5EF4-FFF2-40B4-BE49-F238E27FC236}">
                <a16:creationId xmlns:a16="http://schemas.microsoft.com/office/drawing/2014/main" id="{BE697C4A-A5BD-E6B2-B863-3FCC0F2F70BC}"/>
              </a:ext>
            </a:extLst>
          </p:cNvPr>
          <p:cNvSpPr/>
          <p:nvPr/>
        </p:nvSpPr>
        <p:spPr>
          <a:xfrm>
            <a:off x="7835128" y="2410014"/>
            <a:ext cx="3799053" cy="959991"/>
          </a:xfrm>
          <a:prstGeom prst="rect">
            <a:avLst/>
          </a:prstGeom>
          <a:solidFill>
            <a:srgbClr val="D7D2CB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Interfaccia Garanti</a:t>
            </a:r>
          </a:p>
          <a:p>
            <a:pPr algn="ctr">
              <a:lnSpc>
                <a:spcPct val="150000"/>
              </a:lnSpc>
            </a:pP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Possibilità di scelta</a:t>
            </a:r>
          </a:p>
        </p:txBody>
      </p:sp>
      <p:sp>
        <p:nvSpPr>
          <p:cNvPr id="39" name="Triangolo isoscele 38">
            <a:extLst>
              <a:ext uri="{FF2B5EF4-FFF2-40B4-BE49-F238E27FC236}">
                <a16:creationId xmlns:a16="http://schemas.microsoft.com/office/drawing/2014/main" id="{8ECCE9BF-A6DE-928F-F0B6-1AF86F9CCA65}"/>
              </a:ext>
            </a:extLst>
          </p:cNvPr>
          <p:cNvSpPr/>
          <p:nvPr/>
        </p:nvSpPr>
        <p:spPr>
          <a:xfrm rot="16200000">
            <a:off x="5907493" y="3112767"/>
            <a:ext cx="3074924" cy="369332"/>
          </a:xfrm>
          <a:prstGeom prst="triangle">
            <a:avLst/>
          </a:prstGeom>
          <a:solidFill>
            <a:srgbClr val="D7D2CB"/>
          </a:solidFill>
          <a:ln>
            <a:solidFill>
              <a:srgbClr val="D7D2C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40" name="Triangolo isoscele 39">
            <a:extLst>
              <a:ext uri="{FF2B5EF4-FFF2-40B4-BE49-F238E27FC236}">
                <a16:creationId xmlns:a16="http://schemas.microsoft.com/office/drawing/2014/main" id="{8951D9AB-8299-867B-2C85-553FE369032B}"/>
              </a:ext>
            </a:extLst>
          </p:cNvPr>
          <p:cNvSpPr/>
          <p:nvPr/>
        </p:nvSpPr>
        <p:spPr>
          <a:xfrm rot="5400000">
            <a:off x="3207194" y="3128007"/>
            <a:ext cx="3074924" cy="369332"/>
          </a:xfrm>
          <a:prstGeom prst="triangle">
            <a:avLst/>
          </a:prstGeom>
          <a:solidFill>
            <a:srgbClr val="D7D2CB"/>
          </a:solidFill>
          <a:ln>
            <a:solidFill>
              <a:srgbClr val="D7D2C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41" name="Callout con freccia in giù 33">
            <a:extLst>
              <a:ext uri="{FF2B5EF4-FFF2-40B4-BE49-F238E27FC236}">
                <a16:creationId xmlns:a16="http://schemas.microsoft.com/office/drawing/2014/main" id="{72BDCEE9-FD05-DB2D-FB23-5D4A0B39134F}"/>
              </a:ext>
            </a:extLst>
          </p:cNvPr>
          <p:cNvSpPr/>
          <p:nvPr/>
        </p:nvSpPr>
        <p:spPr>
          <a:xfrm>
            <a:off x="547109" y="2855577"/>
            <a:ext cx="3825463" cy="960912"/>
          </a:xfrm>
          <a:prstGeom prst="downArrowCallout">
            <a:avLst>
              <a:gd name="adj1" fmla="val 25037"/>
              <a:gd name="adj2" fmla="val 28201"/>
              <a:gd name="adj3" fmla="val 34124"/>
              <a:gd name="adj4" fmla="val 55242"/>
            </a:avLst>
          </a:prstGeom>
          <a:solidFill>
            <a:srgbClr val="D7D2CB"/>
          </a:solidFill>
          <a:ln>
            <a:noFill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Interfaccia </a:t>
            </a:r>
            <a:r>
              <a:rPr lang="it-IT" dirty="0" err="1">
                <a:latin typeface="Arial" panose="020B0604020202020204" pitchFamily="34" charset="0"/>
                <a:cs typeface="Arial" panose="020B0604020202020204" pitchFamily="34" charset="0"/>
              </a:rPr>
              <a:t>Cetif</a:t>
            </a:r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Freccia a destra 41">
            <a:extLst>
              <a:ext uri="{FF2B5EF4-FFF2-40B4-BE49-F238E27FC236}">
                <a16:creationId xmlns:a16="http://schemas.microsoft.com/office/drawing/2014/main" id="{E0A67ECA-A5DF-B5F3-9BA4-B543F4DD870F}"/>
              </a:ext>
            </a:extLst>
          </p:cNvPr>
          <p:cNvSpPr/>
          <p:nvPr/>
        </p:nvSpPr>
        <p:spPr>
          <a:xfrm rot="5400000">
            <a:off x="10111887" y="2922017"/>
            <a:ext cx="1225873" cy="589856"/>
          </a:xfrm>
          <a:prstGeom prst="rightArrow">
            <a:avLst/>
          </a:prstGeom>
          <a:solidFill>
            <a:srgbClr val="C4D600"/>
          </a:solidFill>
          <a:ln>
            <a:solidFill>
              <a:srgbClr val="C4D600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43" name="Freccia a destra 42">
            <a:extLst>
              <a:ext uri="{FF2B5EF4-FFF2-40B4-BE49-F238E27FC236}">
                <a16:creationId xmlns:a16="http://schemas.microsoft.com/office/drawing/2014/main" id="{73C4D8B9-A1FB-A4A1-A75C-F80036085FC4}"/>
              </a:ext>
            </a:extLst>
          </p:cNvPr>
          <p:cNvSpPr/>
          <p:nvPr/>
        </p:nvSpPr>
        <p:spPr>
          <a:xfrm rot="5400000">
            <a:off x="8141951" y="2920548"/>
            <a:ext cx="1225873" cy="589856"/>
          </a:xfrm>
          <a:prstGeom prst="rightArrow">
            <a:avLst/>
          </a:prstGeom>
          <a:solidFill>
            <a:srgbClr val="C4D600"/>
          </a:solidFill>
          <a:ln>
            <a:solidFill>
              <a:srgbClr val="C4D600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44" name="Rettangolo 43">
            <a:extLst>
              <a:ext uri="{FF2B5EF4-FFF2-40B4-BE49-F238E27FC236}">
                <a16:creationId xmlns:a16="http://schemas.microsoft.com/office/drawing/2014/main" id="{7FFC5815-3A41-9D43-0093-BB09A06BFDD1}"/>
              </a:ext>
            </a:extLst>
          </p:cNvPr>
          <p:cNvSpPr/>
          <p:nvPr/>
        </p:nvSpPr>
        <p:spPr>
          <a:xfrm>
            <a:off x="7835128" y="2410015"/>
            <a:ext cx="3799053" cy="959991"/>
          </a:xfrm>
          <a:prstGeom prst="rect">
            <a:avLst/>
          </a:prstGeom>
          <a:solidFill>
            <a:srgbClr val="C4D600"/>
          </a:solidFill>
          <a:ln>
            <a:solidFill>
              <a:srgbClr val="C4D600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Interfaccia Garanti</a:t>
            </a:r>
          </a:p>
          <a:p>
            <a:pPr algn="ctr">
              <a:lnSpc>
                <a:spcPct val="150000"/>
              </a:lnSpc>
            </a:pP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Possibilità di scelta</a:t>
            </a:r>
          </a:p>
        </p:txBody>
      </p:sp>
      <p:sp>
        <p:nvSpPr>
          <p:cNvPr id="45" name="Triangolo isoscele 44">
            <a:extLst>
              <a:ext uri="{FF2B5EF4-FFF2-40B4-BE49-F238E27FC236}">
                <a16:creationId xmlns:a16="http://schemas.microsoft.com/office/drawing/2014/main" id="{B96EDF78-DB4B-04EF-140C-17E0F7F9C648}"/>
              </a:ext>
            </a:extLst>
          </p:cNvPr>
          <p:cNvSpPr/>
          <p:nvPr/>
        </p:nvSpPr>
        <p:spPr>
          <a:xfrm rot="16200000">
            <a:off x="5907493" y="3112768"/>
            <a:ext cx="3074924" cy="369332"/>
          </a:xfrm>
          <a:prstGeom prst="triangle">
            <a:avLst/>
          </a:prstGeom>
          <a:solidFill>
            <a:srgbClr val="C4D600"/>
          </a:solidFill>
          <a:ln>
            <a:solidFill>
              <a:srgbClr val="C4D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46" name="Triangolo isoscele 45">
            <a:extLst>
              <a:ext uri="{FF2B5EF4-FFF2-40B4-BE49-F238E27FC236}">
                <a16:creationId xmlns:a16="http://schemas.microsoft.com/office/drawing/2014/main" id="{9333309E-6ADE-0F55-1940-A33C94FA1EE3}"/>
              </a:ext>
            </a:extLst>
          </p:cNvPr>
          <p:cNvSpPr/>
          <p:nvPr/>
        </p:nvSpPr>
        <p:spPr>
          <a:xfrm rot="5400000">
            <a:off x="3207194" y="3128008"/>
            <a:ext cx="3074924" cy="369332"/>
          </a:xfrm>
          <a:prstGeom prst="triangle">
            <a:avLst/>
          </a:prstGeom>
          <a:solidFill>
            <a:srgbClr val="C4D600"/>
          </a:solidFill>
          <a:ln>
            <a:solidFill>
              <a:srgbClr val="C4D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47" name="Callout con freccia in giù 33">
            <a:extLst>
              <a:ext uri="{FF2B5EF4-FFF2-40B4-BE49-F238E27FC236}">
                <a16:creationId xmlns:a16="http://schemas.microsoft.com/office/drawing/2014/main" id="{72EDCE25-4A66-B3FE-2FDF-D86815A5331B}"/>
              </a:ext>
            </a:extLst>
          </p:cNvPr>
          <p:cNvSpPr/>
          <p:nvPr/>
        </p:nvSpPr>
        <p:spPr>
          <a:xfrm>
            <a:off x="547109" y="2855578"/>
            <a:ext cx="3825463" cy="960912"/>
          </a:xfrm>
          <a:prstGeom prst="downArrowCallout">
            <a:avLst>
              <a:gd name="adj1" fmla="val 25037"/>
              <a:gd name="adj2" fmla="val 28201"/>
              <a:gd name="adj3" fmla="val 34124"/>
              <a:gd name="adj4" fmla="val 55242"/>
            </a:avLst>
          </a:prstGeom>
          <a:solidFill>
            <a:srgbClr val="C4D600"/>
          </a:solidFill>
          <a:ln>
            <a:solidFill>
              <a:srgbClr val="C4D600"/>
            </a:solidFill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Interfaccia </a:t>
            </a:r>
            <a:r>
              <a:rPr lang="it-IT" dirty="0" err="1">
                <a:latin typeface="Arial" panose="020B0604020202020204" pitchFamily="34" charset="0"/>
                <a:cs typeface="Arial" panose="020B0604020202020204" pitchFamily="34" charset="0"/>
              </a:rPr>
              <a:t>Cetif</a:t>
            </a:r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Segnaposto numero diapositiva 5">
            <a:extLst>
              <a:ext uri="{FF2B5EF4-FFF2-40B4-BE49-F238E27FC236}">
                <a16:creationId xmlns:a16="http://schemas.microsoft.com/office/drawing/2014/main" id="{C74E5345-174E-DD7E-04F9-23E8800A124F}"/>
              </a:ext>
            </a:extLst>
          </p:cNvPr>
          <p:cNvSpPr txBox="1">
            <a:spLocks/>
          </p:cNvSpPr>
          <p:nvPr/>
        </p:nvSpPr>
        <p:spPr>
          <a:xfrm>
            <a:off x="11374120" y="6315710"/>
            <a:ext cx="817880" cy="365125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l" defTabSz="914400" rtl="0" eaLnBrk="1" latinLnBrk="0" hangingPunct="1"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7C8ED99-00F4-7E4D-A2B9-6ECAF68FD4D2}" type="slidenum">
              <a:rPr lang="it-IT" smtClean="0"/>
              <a:pPr/>
              <a:t>14</a:t>
            </a:fld>
            <a:endParaRPr lang="it-IT" dirty="0"/>
          </a:p>
        </p:txBody>
      </p:sp>
      <p:pic>
        <p:nvPicPr>
          <p:cNvPr id="49" name="Immagine 48">
            <a:extLst>
              <a:ext uri="{FF2B5EF4-FFF2-40B4-BE49-F238E27FC236}">
                <a16:creationId xmlns:a16="http://schemas.microsoft.com/office/drawing/2014/main" id="{5B52B7AE-0639-CE34-917A-A21EC77070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5863" y="2446935"/>
            <a:ext cx="1857987" cy="1490477"/>
          </a:xfrm>
          <a:prstGeom prst="rect">
            <a:avLst/>
          </a:prstGeom>
        </p:spPr>
      </p:pic>
      <p:sp>
        <p:nvSpPr>
          <p:cNvPr id="50" name="Rettangolo arrotondato 3">
            <a:extLst>
              <a:ext uri="{FF2B5EF4-FFF2-40B4-BE49-F238E27FC236}">
                <a16:creationId xmlns:a16="http://schemas.microsoft.com/office/drawing/2014/main" id="{7E4CEB31-F1EB-E63B-EB53-A5EBB2920025}"/>
              </a:ext>
            </a:extLst>
          </p:cNvPr>
          <p:cNvSpPr/>
          <p:nvPr/>
        </p:nvSpPr>
        <p:spPr>
          <a:xfrm>
            <a:off x="5210031" y="2277011"/>
            <a:ext cx="1742826" cy="2135860"/>
          </a:xfrm>
          <a:prstGeom prst="roundRect">
            <a:avLst/>
          </a:prstGeom>
          <a:noFill/>
          <a:ln w="38100">
            <a:solidFill>
              <a:srgbClr val="C4D600"/>
            </a:solidFill>
            <a:prstDash val="dash"/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39388" tIns="39388" rIns="39388" bIns="39388" rtlCol="0" anchor="ctr">
            <a:noAutofit/>
          </a:bodyPr>
          <a:lstStyle/>
          <a:p>
            <a:pPr algn="ctr" defTabSz="895375" eaLnBrk="1" hangingPunct="1">
              <a:tabLst>
                <a:tab pos="269883" algn="l"/>
              </a:tabLst>
            </a:pPr>
            <a:endParaRPr lang="it-IT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056660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tangolo 14">
            <a:extLst>
              <a:ext uri="{FF2B5EF4-FFF2-40B4-BE49-F238E27FC236}">
                <a16:creationId xmlns:a16="http://schemas.microsoft.com/office/drawing/2014/main" id="{29A0B37B-0ED8-4A7B-890A-CD7040B1CE36}"/>
              </a:ext>
            </a:extLst>
          </p:cNvPr>
          <p:cNvSpPr/>
          <p:nvPr/>
        </p:nvSpPr>
        <p:spPr>
          <a:xfrm>
            <a:off x="712467" y="5233675"/>
            <a:ext cx="6522424" cy="513450"/>
          </a:xfrm>
          <a:prstGeom prst="rect">
            <a:avLst/>
          </a:prstGeom>
          <a:solidFill>
            <a:srgbClr val="003057"/>
          </a:solidFill>
          <a:ln w="19050">
            <a:solidFill>
              <a:srgbClr val="003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7B13179C-8F3A-BF44-862E-C13FD7E40330}"/>
              </a:ext>
            </a:extLst>
          </p:cNvPr>
          <p:cNvSpPr txBox="1"/>
          <p:nvPr/>
        </p:nvSpPr>
        <p:spPr>
          <a:xfrm>
            <a:off x="8060482" y="2956035"/>
            <a:ext cx="272382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5400" b="1" i="0" u="none" strike="noStrike" kern="1200" cap="none" spc="0" normalizeH="0" baseline="0" noProof="0" dirty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9362BCB6-333E-4B86-84C4-152299D19653}"/>
              </a:ext>
            </a:extLst>
          </p:cNvPr>
          <p:cNvSpPr txBox="1"/>
          <p:nvPr/>
        </p:nvSpPr>
        <p:spPr>
          <a:xfrm>
            <a:off x="712467" y="1200772"/>
            <a:ext cx="518263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200" dirty="0">
                <a:latin typeface="Arial" panose="020B0604020202020204" pitchFamily="34" charset="0"/>
                <a:cs typeface="Arial" panose="020B0604020202020204" pitchFamily="34" charset="0"/>
              </a:rPr>
              <a:t>L’esigenza di mercato</a:t>
            </a: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FC817143-5BEE-456D-B25E-E640A2695892}"/>
              </a:ext>
            </a:extLst>
          </p:cNvPr>
          <p:cNvSpPr txBox="1"/>
          <p:nvPr/>
        </p:nvSpPr>
        <p:spPr>
          <a:xfrm>
            <a:off x="712467" y="2495898"/>
            <a:ext cx="518263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200" dirty="0">
                <a:latin typeface="Arial" panose="020B0604020202020204" pitchFamily="34" charset="0"/>
                <a:cs typeface="Arial" panose="020B0604020202020204" pitchFamily="34" charset="0"/>
              </a:rPr>
              <a:t>La Sandbox</a:t>
            </a: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A0E92672-7087-41EE-B375-4F26ADF4E69A}"/>
              </a:ext>
            </a:extLst>
          </p:cNvPr>
          <p:cNvSpPr txBox="1"/>
          <p:nvPr/>
        </p:nvSpPr>
        <p:spPr>
          <a:xfrm>
            <a:off x="712467" y="3879365"/>
            <a:ext cx="574357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200" dirty="0">
                <a:latin typeface="Arial" panose="020B0604020202020204" pitchFamily="34" charset="0"/>
                <a:cs typeface="Arial" panose="020B0604020202020204" pitchFamily="34" charset="0"/>
              </a:rPr>
              <a:t>La soluzione «Fideiussioni Digitali» </a:t>
            </a:r>
          </a:p>
        </p:txBody>
      </p:sp>
      <p:sp>
        <p:nvSpPr>
          <p:cNvPr id="18" name="CasellaDiTesto 17">
            <a:extLst>
              <a:ext uri="{FF2B5EF4-FFF2-40B4-BE49-F238E27FC236}">
                <a16:creationId xmlns:a16="http://schemas.microsoft.com/office/drawing/2014/main" id="{7840DC34-0584-48D1-9685-81B0F26402B6}"/>
              </a:ext>
            </a:extLst>
          </p:cNvPr>
          <p:cNvSpPr txBox="1"/>
          <p:nvPr/>
        </p:nvSpPr>
        <p:spPr>
          <a:xfrm>
            <a:off x="712467" y="5274957"/>
            <a:ext cx="518263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ssimi passi</a:t>
            </a:r>
          </a:p>
        </p:txBody>
      </p:sp>
    </p:spTree>
    <p:extLst>
      <p:ext uri="{BB962C8B-B14F-4D97-AF65-F5344CB8AC3E}">
        <p14:creationId xmlns:p14="http://schemas.microsoft.com/office/powerpoint/2010/main" val="234085577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Connettore diritto 1">
            <a:extLst>
              <a:ext uri="{FF2B5EF4-FFF2-40B4-BE49-F238E27FC236}">
                <a16:creationId xmlns:a16="http://schemas.microsoft.com/office/drawing/2014/main" id="{E2A44920-1356-1BBB-5A61-F04BB7F865DF}"/>
              </a:ext>
            </a:extLst>
          </p:cNvPr>
          <p:cNvCxnSpPr>
            <a:cxnSpLocks/>
          </p:cNvCxnSpPr>
          <p:nvPr/>
        </p:nvCxnSpPr>
        <p:spPr>
          <a:xfrm>
            <a:off x="3625996" y="3594248"/>
            <a:ext cx="0" cy="630716"/>
          </a:xfrm>
          <a:prstGeom prst="line">
            <a:avLst/>
          </a:prstGeom>
          <a:ln w="57150">
            <a:solidFill>
              <a:srgbClr val="C4D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Connettore diritto 2">
            <a:extLst>
              <a:ext uri="{FF2B5EF4-FFF2-40B4-BE49-F238E27FC236}">
                <a16:creationId xmlns:a16="http://schemas.microsoft.com/office/drawing/2014/main" id="{C2CE6820-5F98-06AA-95C9-021C219A18E5}"/>
              </a:ext>
            </a:extLst>
          </p:cNvPr>
          <p:cNvCxnSpPr>
            <a:cxnSpLocks/>
          </p:cNvCxnSpPr>
          <p:nvPr/>
        </p:nvCxnSpPr>
        <p:spPr>
          <a:xfrm>
            <a:off x="7598765" y="3594248"/>
            <a:ext cx="0" cy="630716"/>
          </a:xfrm>
          <a:prstGeom prst="line">
            <a:avLst/>
          </a:prstGeom>
          <a:ln w="57150">
            <a:solidFill>
              <a:srgbClr val="C4D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6B088D22-F0F9-B0D8-5CF0-A41ABDB589C7}"/>
              </a:ext>
            </a:extLst>
          </p:cNvPr>
          <p:cNvSpPr txBox="1"/>
          <p:nvPr/>
        </p:nvSpPr>
        <p:spPr>
          <a:xfrm>
            <a:off x="3266458" y="375799"/>
            <a:ext cx="565908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3000" b="1" dirty="0">
                <a:solidFill>
                  <a:srgbClr val="0030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ssimi appuntamenti</a:t>
            </a: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C4EC0E68-86D8-B53E-31EC-38864E28A607}"/>
              </a:ext>
            </a:extLst>
          </p:cNvPr>
          <p:cNvSpPr txBox="1"/>
          <p:nvPr/>
        </p:nvSpPr>
        <p:spPr>
          <a:xfrm>
            <a:off x="341524" y="817387"/>
            <a:ext cx="584986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100" b="1" dirty="0">
                <a:solidFill>
                  <a:srgbClr val="0030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cxnSp>
        <p:nvCxnSpPr>
          <p:cNvPr id="6" name="Connettore diritto 5">
            <a:extLst>
              <a:ext uri="{FF2B5EF4-FFF2-40B4-BE49-F238E27FC236}">
                <a16:creationId xmlns:a16="http://schemas.microsoft.com/office/drawing/2014/main" id="{A6BC2F0C-DA52-8D68-943E-E766989B806E}"/>
              </a:ext>
            </a:extLst>
          </p:cNvPr>
          <p:cNvCxnSpPr>
            <a:cxnSpLocks/>
          </p:cNvCxnSpPr>
          <p:nvPr/>
        </p:nvCxnSpPr>
        <p:spPr>
          <a:xfrm>
            <a:off x="1336717" y="2963532"/>
            <a:ext cx="0" cy="630716"/>
          </a:xfrm>
          <a:prstGeom prst="line">
            <a:avLst/>
          </a:prstGeom>
          <a:ln w="57150">
            <a:solidFill>
              <a:srgbClr val="0030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ttore diritto 6">
            <a:extLst>
              <a:ext uri="{FF2B5EF4-FFF2-40B4-BE49-F238E27FC236}">
                <a16:creationId xmlns:a16="http://schemas.microsoft.com/office/drawing/2014/main" id="{6C349F25-B049-53E5-4D97-EB682026B74A}"/>
              </a:ext>
            </a:extLst>
          </p:cNvPr>
          <p:cNvCxnSpPr>
            <a:cxnSpLocks/>
          </p:cNvCxnSpPr>
          <p:nvPr/>
        </p:nvCxnSpPr>
        <p:spPr>
          <a:xfrm>
            <a:off x="2566243" y="2963532"/>
            <a:ext cx="0" cy="630716"/>
          </a:xfrm>
          <a:prstGeom prst="line">
            <a:avLst/>
          </a:prstGeom>
          <a:ln w="57150">
            <a:solidFill>
              <a:srgbClr val="0030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ttore diritto 7">
            <a:extLst>
              <a:ext uri="{FF2B5EF4-FFF2-40B4-BE49-F238E27FC236}">
                <a16:creationId xmlns:a16="http://schemas.microsoft.com/office/drawing/2014/main" id="{8243F956-5ACE-C7F8-24C1-A0EC63C44ABF}"/>
              </a:ext>
            </a:extLst>
          </p:cNvPr>
          <p:cNvCxnSpPr>
            <a:cxnSpLocks/>
          </p:cNvCxnSpPr>
          <p:nvPr/>
        </p:nvCxnSpPr>
        <p:spPr>
          <a:xfrm>
            <a:off x="5258128" y="2963532"/>
            <a:ext cx="0" cy="630716"/>
          </a:xfrm>
          <a:prstGeom prst="line">
            <a:avLst/>
          </a:prstGeom>
          <a:ln w="57150">
            <a:solidFill>
              <a:srgbClr val="0030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ttore diritto 8">
            <a:extLst>
              <a:ext uri="{FF2B5EF4-FFF2-40B4-BE49-F238E27FC236}">
                <a16:creationId xmlns:a16="http://schemas.microsoft.com/office/drawing/2014/main" id="{3A74D4E0-6C90-6E1B-B2E2-BD0A5CAFFDD2}"/>
              </a:ext>
            </a:extLst>
          </p:cNvPr>
          <p:cNvCxnSpPr>
            <a:cxnSpLocks/>
          </p:cNvCxnSpPr>
          <p:nvPr/>
        </p:nvCxnSpPr>
        <p:spPr>
          <a:xfrm>
            <a:off x="6653339" y="2963532"/>
            <a:ext cx="0" cy="630716"/>
          </a:xfrm>
          <a:prstGeom prst="line">
            <a:avLst/>
          </a:prstGeom>
          <a:ln w="57150">
            <a:solidFill>
              <a:srgbClr val="0030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ttore diritto 9">
            <a:extLst>
              <a:ext uri="{FF2B5EF4-FFF2-40B4-BE49-F238E27FC236}">
                <a16:creationId xmlns:a16="http://schemas.microsoft.com/office/drawing/2014/main" id="{C18357E8-B5C1-32FB-3ADD-6E28C4407E3D}"/>
              </a:ext>
            </a:extLst>
          </p:cNvPr>
          <p:cNvCxnSpPr>
            <a:cxnSpLocks/>
          </p:cNvCxnSpPr>
          <p:nvPr/>
        </p:nvCxnSpPr>
        <p:spPr>
          <a:xfrm>
            <a:off x="1223802" y="3594248"/>
            <a:ext cx="10041786" cy="0"/>
          </a:xfrm>
          <a:prstGeom prst="line">
            <a:avLst/>
          </a:prstGeom>
          <a:ln w="571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D3E2323B-F2DE-0AF1-2E6A-A59580702D6D}"/>
              </a:ext>
            </a:extLst>
          </p:cNvPr>
          <p:cNvSpPr txBox="1"/>
          <p:nvPr/>
        </p:nvSpPr>
        <p:spPr>
          <a:xfrm rot="19376995">
            <a:off x="855277" y="1383563"/>
            <a:ext cx="33510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Rilascio in ambiente Demo</a:t>
            </a:r>
          </a:p>
          <a:p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31 ottobre 2022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8A5EBDBC-5244-4AE1-D68E-55508EE61A80}"/>
              </a:ext>
            </a:extLst>
          </p:cNvPr>
          <p:cNvSpPr txBox="1"/>
          <p:nvPr/>
        </p:nvSpPr>
        <p:spPr>
          <a:xfrm rot="19376995">
            <a:off x="2133965" y="1383563"/>
            <a:ext cx="33510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Rilascio in sviluppo</a:t>
            </a:r>
          </a:p>
          <a:p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25 novembre 2022</a:t>
            </a: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B7D16E93-B144-37E2-A031-0E6B04EA7854}"/>
              </a:ext>
            </a:extLst>
          </p:cNvPr>
          <p:cNvSpPr txBox="1"/>
          <p:nvPr/>
        </p:nvSpPr>
        <p:spPr>
          <a:xfrm rot="19376995">
            <a:off x="4769480" y="1383560"/>
            <a:ext cx="33510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Rilascio in UAT</a:t>
            </a:r>
          </a:p>
          <a:p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15 gennaio 2023</a:t>
            </a: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482A53FD-85F6-FC93-AAD8-8D0774AFAD29}"/>
              </a:ext>
            </a:extLst>
          </p:cNvPr>
          <p:cNvSpPr txBox="1"/>
          <p:nvPr/>
        </p:nvSpPr>
        <p:spPr>
          <a:xfrm rot="19376995">
            <a:off x="6204067" y="1389983"/>
            <a:ext cx="33510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Rilascio in produzione</a:t>
            </a:r>
          </a:p>
          <a:p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31 gennaio 2023</a:t>
            </a:r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04C25FD0-0F8C-F356-4AC6-1F07107F9C2C}"/>
              </a:ext>
            </a:extLst>
          </p:cNvPr>
          <p:cNvSpPr txBox="1"/>
          <p:nvPr/>
        </p:nvSpPr>
        <p:spPr>
          <a:xfrm>
            <a:off x="1803878" y="4637371"/>
            <a:ext cx="3644231" cy="1391833"/>
          </a:xfrm>
          <a:prstGeom prst="rect">
            <a:avLst/>
          </a:prstGeom>
          <a:solidFill>
            <a:srgbClr val="E8EF9C"/>
          </a:solidFill>
          <a:ln w="19050">
            <a:solidFill>
              <a:srgbClr val="C4D600"/>
            </a:solidFill>
            <a:prstDash val="solid"/>
          </a:ln>
        </p:spPr>
        <p:txBody>
          <a:bodyPr wrap="square" rtlCol="0" anchor="ctr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Kick-Off &amp; Presentazione Demo </a:t>
            </a:r>
          </a:p>
          <a:p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     12 dicembre 2022</a:t>
            </a:r>
          </a:p>
          <a:p>
            <a:endParaRPr lang="it-IT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Sessioni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operative Demo</a:t>
            </a:r>
          </a:p>
          <a:p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     13-15 dicembre 2022 </a:t>
            </a:r>
          </a:p>
        </p:txBody>
      </p: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A40A46AF-86EA-D8BA-3050-B9644A0293CA}"/>
              </a:ext>
            </a:extLst>
          </p:cNvPr>
          <p:cNvSpPr txBox="1"/>
          <p:nvPr/>
        </p:nvSpPr>
        <p:spPr>
          <a:xfrm>
            <a:off x="6760051" y="4340673"/>
            <a:ext cx="196566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Attività preparatorie all’integrazione</a:t>
            </a:r>
          </a:p>
          <a:p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febbraio 2023 </a:t>
            </a:r>
          </a:p>
        </p:txBody>
      </p:sp>
      <p:sp>
        <p:nvSpPr>
          <p:cNvPr id="17" name="Rettangolo 16">
            <a:extLst>
              <a:ext uri="{FF2B5EF4-FFF2-40B4-BE49-F238E27FC236}">
                <a16:creationId xmlns:a16="http://schemas.microsoft.com/office/drawing/2014/main" id="{2FAF185A-CE27-5C30-62BE-EF57A3A79279}"/>
              </a:ext>
            </a:extLst>
          </p:cNvPr>
          <p:cNvSpPr/>
          <p:nvPr/>
        </p:nvSpPr>
        <p:spPr>
          <a:xfrm>
            <a:off x="1223802" y="2855531"/>
            <a:ext cx="232165" cy="216000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Rettangolo 17">
            <a:extLst>
              <a:ext uri="{FF2B5EF4-FFF2-40B4-BE49-F238E27FC236}">
                <a16:creationId xmlns:a16="http://schemas.microsoft.com/office/drawing/2014/main" id="{9E4EA7DE-542C-C758-C4A5-C2B978C8DC68}"/>
              </a:ext>
            </a:extLst>
          </p:cNvPr>
          <p:cNvSpPr/>
          <p:nvPr/>
        </p:nvSpPr>
        <p:spPr>
          <a:xfrm>
            <a:off x="2450160" y="2838161"/>
            <a:ext cx="232165" cy="216000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Rettangolo 18">
            <a:extLst>
              <a:ext uri="{FF2B5EF4-FFF2-40B4-BE49-F238E27FC236}">
                <a16:creationId xmlns:a16="http://schemas.microsoft.com/office/drawing/2014/main" id="{9EACB6A5-3977-80C7-791F-F9DFA18B5084}"/>
              </a:ext>
            </a:extLst>
          </p:cNvPr>
          <p:cNvSpPr/>
          <p:nvPr/>
        </p:nvSpPr>
        <p:spPr>
          <a:xfrm>
            <a:off x="5135700" y="2855531"/>
            <a:ext cx="232165" cy="216000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0" name="Rettangolo 19">
            <a:extLst>
              <a:ext uri="{FF2B5EF4-FFF2-40B4-BE49-F238E27FC236}">
                <a16:creationId xmlns:a16="http://schemas.microsoft.com/office/drawing/2014/main" id="{DC1F828D-CFF4-642C-343A-2EB7EFB51613}"/>
              </a:ext>
            </a:extLst>
          </p:cNvPr>
          <p:cNvSpPr/>
          <p:nvPr/>
        </p:nvSpPr>
        <p:spPr>
          <a:xfrm>
            <a:off x="6535977" y="2855531"/>
            <a:ext cx="232165" cy="216000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1" name="Rettangolo 20">
            <a:extLst>
              <a:ext uri="{FF2B5EF4-FFF2-40B4-BE49-F238E27FC236}">
                <a16:creationId xmlns:a16="http://schemas.microsoft.com/office/drawing/2014/main" id="{4C16DD4A-61B3-8768-B7A6-A1C2E70151F2}"/>
              </a:ext>
            </a:extLst>
          </p:cNvPr>
          <p:cNvSpPr/>
          <p:nvPr/>
        </p:nvSpPr>
        <p:spPr>
          <a:xfrm>
            <a:off x="3509912" y="4106424"/>
            <a:ext cx="232165" cy="216000"/>
          </a:xfrm>
          <a:prstGeom prst="rect">
            <a:avLst/>
          </a:prstGeom>
          <a:solidFill>
            <a:srgbClr val="C4D600"/>
          </a:solidFill>
          <a:ln>
            <a:solidFill>
              <a:srgbClr val="C4D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2" name="Rettangolo 21">
            <a:extLst>
              <a:ext uri="{FF2B5EF4-FFF2-40B4-BE49-F238E27FC236}">
                <a16:creationId xmlns:a16="http://schemas.microsoft.com/office/drawing/2014/main" id="{47E24C4B-A01E-2540-FFAC-4F190BC2B59E}"/>
              </a:ext>
            </a:extLst>
          </p:cNvPr>
          <p:cNvSpPr/>
          <p:nvPr/>
        </p:nvSpPr>
        <p:spPr>
          <a:xfrm>
            <a:off x="7476558" y="4106424"/>
            <a:ext cx="232165" cy="216000"/>
          </a:xfrm>
          <a:prstGeom prst="rect">
            <a:avLst/>
          </a:prstGeom>
          <a:solidFill>
            <a:srgbClr val="C4D600"/>
          </a:solidFill>
          <a:ln>
            <a:solidFill>
              <a:srgbClr val="C4D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3" name="Ovale 22">
            <a:extLst>
              <a:ext uri="{FF2B5EF4-FFF2-40B4-BE49-F238E27FC236}">
                <a16:creationId xmlns:a16="http://schemas.microsoft.com/office/drawing/2014/main" id="{4DF05AAA-D67A-BCC9-30CF-BDAD40734D07}"/>
              </a:ext>
            </a:extLst>
          </p:cNvPr>
          <p:cNvSpPr>
            <a:spLocks noChangeAspect="1"/>
          </p:cNvSpPr>
          <p:nvPr/>
        </p:nvSpPr>
        <p:spPr>
          <a:xfrm>
            <a:off x="9112732" y="2528393"/>
            <a:ext cx="2293268" cy="2131710"/>
          </a:xfrm>
          <a:prstGeom prst="ellipse">
            <a:avLst/>
          </a:prstGeom>
          <a:solidFill>
            <a:srgbClr val="C4D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grpSp>
        <p:nvGrpSpPr>
          <p:cNvPr id="24" name="Flag6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DB42DA52-F359-3A7D-39B5-0D34E75A0E34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9676315" y="2882424"/>
            <a:ext cx="1166100" cy="1224000"/>
            <a:chOff x="86" y="47"/>
            <a:chExt cx="312" cy="352"/>
          </a:xfrm>
          <a:solidFill>
            <a:schemeClr val="bg1"/>
          </a:solidFill>
        </p:grpSpPr>
        <p:sp>
          <p:nvSpPr>
            <p:cNvPr id="25" name="Flag6">
              <a:extLst>
                <a:ext uri="{FF2B5EF4-FFF2-40B4-BE49-F238E27FC236}">
                  <a16:creationId xmlns:a16="http://schemas.microsoft.com/office/drawing/2014/main" id="{67D09241-60EB-7F22-6935-5A505D697238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86" y="86"/>
              <a:ext cx="39" cy="313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lag6">
              <a:extLst>
                <a:ext uri="{FF2B5EF4-FFF2-40B4-BE49-F238E27FC236}">
                  <a16:creationId xmlns:a16="http://schemas.microsoft.com/office/drawing/2014/main" id="{28B4649B-ABCA-075F-30A6-F95D2A9CEC8F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45" y="47"/>
              <a:ext cx="253" cy="333"/>
            </a:xfrm>
            <a:custGeom>
              <a:avLst/>
              <a:gdLst>
                <a:gd name="T0" fmla="*/ 0 w 325"/>
                <a:gd name="T1" fmla="*/ 100 h 425"/>
                <a:gd name="T2" fmla="*/ 0 w 325"/>
                <a:gd name="T3" fmla="*/ 325 h 425"/>
                <a:gd name="T4" fmla="*/ 325 w 325"/>
                <a:gd name="T5" fmla="*/ 325 h 425"/>
                <a:gd name="T6" fmla="*/ 325 w 325"/>
                <a:gd name="T7" fmla="*/ 100 h 425"/>
                <a:gd name="T8" fmla="*/ 0 w 325"/>
                <a:gd name="T9" fmla="*/ 100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5" h="425">
                  <a:moveTo>
                    <a:pt x="0" y="100"/>
                  </a:moveTo>
                  <a:lnTo>
                    <a:pt x="0" y="325"/>
                  </a:lnTo>
                  <a:cubicBezTo>
                    <a:pt x="100" y="225"/>
                    <a:pt x="225" y="425"/>
                    <a:pt x="325" y="325"/>
                  </a:cubicBezTo>
                  <a:lnTo>
                    <a:pt x="325" y="100"/>
                  </a:lnTo>
                  <a:cubicBezTo>
                    <a:pt x="225" y="200"/>
                    <a:pt x="100" y="0"/>
                    <a:pt x="0" y="1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7" name="CasellaDiTesto 26">
            <a:extLst>
              <a:ext uri="{FF2B5EF4-FFF2-40B4-BE49-F238E27FC236}">
                <a16:creationId xmlns:a16="http://schemas.microsoft.com/office/drawing/2014/main" id="{20ED1B94-C741-A8A8-BA94-2C2B06210F6D}"/>
              </a:ext>
            </a:extLst>
          </p:cNvPr>
          <p:cNvSpPr txBox="1"/>
          <p:nvPr/>
        </p:nvSpPr>
        <p:spPr>
          <a:xfrm>
            <a:off x="9389027" y="1968970"/>
            <a:ext cx="174067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800" b="1" dirty="0">
                <a:solidFill>
                  <a:srgbClr val="C4D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 Live!</a:t>
            </a:r>
          </a:p>
        </p:txBody>
      </p:sp>
      <p:sp>
        <p:nvSpPr>
          <p:cNvPr id="28" name="CasellaDiTesto 27">
            <a:extLst>
              <a:ext uri="{FF2B5EF4-FFF2-40B4-BE49-F238E27FC236}">
                <a16:creationId xmlns:a16="http://schemas.microsoft.com/office/drawing/2014/main" id="{ADCB0604-6F01-8C33-4D87-A10BF2FFB002}"/>
              </a:ext>
            </a:extLst>
          </p:cNvPr>
          <p:cNvSpPr txBox="1"/>
          <p:nvPr/>
        </p:nvSpPr>
        <p:spPr>
          <a:xfrm>
            <a:off x="9776432" y="4741584"/>
            <a:ext cx="11539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i="1" dirty="0">
                <a:latin typeface="Arial" panose="020B0604020202020204" pitchFamily="34" charset="0"/>
                <a:cs typeface="Arial" panose="020B0604020202020204" pitchFamily="34" charset="0"/>
              </a:rPr>
              <a:t>Q1 2023</a:t>
            </a:r>
          </a:p>
        </p:txBody>
      </p:sp>
      <p:sp>
        <p:nvSpPr>
          <p:cNvPr id="29" name="Segnaposto numero diapositiva 3">
            <a:extLst>
              <a:ext uri="{FF2B5EF4-FFF2-40B4-BE49-F238E27FC236}">
                <a16:creationId xmlns:a16="http://schemas.microsoft.com/office/drawing/2014/main" id="{1D9A38AE-CBBD-FE46-6A0B-5566DBAEDAEE}"/>
              </a:ext>
            </a:extLst>
          </p:cNvPr>
          <p:cNvSpPr txBox="1">
            <a:spLocks/>
          </p:cNvSpPr>
          <p:nvPr/>
        </p:nvSpPr>
        <p:spPr>
          <a:xfrm>
            <a:off x="11374438" y="6310313"/>
            <a:ext cx="81756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t-IT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fld id="{B7C8ED99-00F4-7E4D-A2B9-6ECAF68FD4D2}" type="slidenum">
              <a:rPr lang="it-IT" sz="140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l">
                <a:defRPr/>
              </a:pPr>
              <a:t>16</a:t>
            </a:fld>
            <a:endParaRPr lang="it-IT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0" name="Connettore diritto 29">
            <a:extLst>
              <a:ext uri="{FF2B5EF4-FFF2-40B4-BE49-F238E27FC236}">
                <a16:creationId xmlns:a16="http://schemas.microsoft.com/office/drawing/2014/main" id="{265018BA-CA17-AC16-2842-6DC8F1BB4C90}"/>
              </a:ext>
            </a:extLst>
          </p:cNvPr>
          <p:cNvCxnSpPr/>
          <p:nvPr/>
        </p:nvCxnSpPr>
        <p:spPr>
          <a:xfrm flipH="1">
            <a:off x="473725" y="3594248"/>
            <a:ext cx="761094" cy="0"/>
          </a:xfrm>
          <a:prstGeom prst="line">
            <a:avLst/>
          </a:prstGeom>
          <a:ln w="57150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CasellaDiTesto 30">
            <a:extLst>
              <a:ext uri="{FF2B5EF4-FFF2-40B4-BE49-F238E27FC236}">
                <a16:creationId xmlns:a16="http://schemas.microsoft.com/office/drawing/2014/main" id="{C8DA59A3-F4CE-EECA-92A9-2C3613C42E19}"/>
              </a:ext>
            </a:extLst>
          </p:cNvPr>
          <p:cNvSpPr txBox="1"/>
          <p:nvPr/>
        </p:nvSpPr>
        <p:spPr>
          <a:xfrm>
            <a:off x="2273629" y="4398585"/>
            <a:ext cx="2704727" cy="338554"/>
          </a:xfrm>
          <a:prstGeom prst="rect">
            <a:avLst/>
          </a:prstGeom>
          <a:solidFill>
            <a:schemeClr val="bg1"/>
          </a:solidFill>
          <a:ln w="19050">
            <a:solidFill>
              <a:srgbClr val="C4D600"/>
            </a:solidFill>
            <a:prstDash val="solid"/>
          </a:ln>
        </p:spPr>
        <p:txBody>
          <a:bodyPr wrap="square" rtlCol="0">
            <a:noAutofit/>
          </a:bodyPr>
          <a:lstStyle/>
          <a:p>
            <a:pPr algn="ctr"/>
            <a:r>
              <a:rPr lang="it-IT" sz="1600" b="1" dirty="0">
                <a:solidFill>
                  <a:srgbClr val="C4D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 PILOT GO LIVE</a:t>
            </a:r>
          </a:p>
        </p:txBody>
      </p:sp>
    </p:spTree>
    <p:extLst>
      <p:ext uri="{BB962C8B-B14F-4D97-AF65-F5344CB8AC3E}">
        <p14:creationId xmlns:p14="http://schemas.microsoft.com/office/powerpoint/2010/main" val="6290908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tangolo 14">
            <a:extLst>
              <a:ext uri="{FF2B5EF4-FFF2-40B4-BE49-F238E27FC236}">
                <a16:creationId xmlns:a16="http://schemas.microsoft.com/office/drawing/2014/main" id="{29A0B37B-0ED8-4A7B-890A-CD7040B1CE36}"/>
              </a:ext>
            </a:extLst>
          </p:cNvPr>
          <p:cNvSpPr/>
          <p:nvPr/>
        </p:nvSpPr>
        <p:spPr>
          <a:xfrm>
            <a:off x="609601" y="1193188"/>
            <a:ext cx="6522424" cy="513450"/>
          </a:xfrm>
          <a:prstGeom prst="rect">
            <a:avLst/>
          </a:prstGeom>
          <a:solidFill>
            <a:srgbClr val="003057"/>
          </a:solidFill>
          <a:ln w="19050">
            <a:solidFill>
              <a:srgbClr val="003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7B13179C-8F3A-BF44-862E-C13FD7E40330}"/>
              </a:ext>
            </a:extLst>
          </p:cNvPr>
          <p:cNvSpPr txBox="1"/>
          <p:nvPr/>
        </p:nvSpPr>
        <p:spPr>
          <a:xfrm>
            <a:off x="8060482" y="2956035"/>
            <a:ext cx="272382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5400" b="1" i="0" u="none" strike="noStrike" kern="1200" cap="none" spc="0" normalizeH="0" baseline="0" noProof="0" dirty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9362BCB6-333E-4B86-84C4-152299D19653}"/>
              </a:ext>
            </a:extLst>
          </p:cNvPr>
          <p:cNvSpPr txBox="1"/>
          <p:nvPr/>
        </p:nvSpPr>
        <p:spPr>
          <a:xfrm>
            <a:off x="712467" y="1200772"/>
            <a:ext cx="518263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esigenza di mercato</a:t>
            </a: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FC817143-5BEE-456D-B25E-E640A2695892}"/>
              </a:ext>
            </a:extLst>
          </p:cNvPr>
          <p:cNvSpPr txBox="1"/>
          <p:nvPr/>
        </p:nvSpPr>
        <p:spPr>
          <a:xfrm>
            <a:off x="712467" y="2495898"/>
            <a:ext cx="518263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200" dirty="0">
                <a:latin typeface="Arial" panose="020B0604020202020204" pitchFamily="34" charset="0"/>
                <a:cs typeface="Arial" panose="020B0604020202020204" pitchFamily="34" charset="0"/>
              </a:rPr>
              <a:t>La Sandbox</a:t>
            </a: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A0E92672-7087-41EE-B375-4F26ADF4E69A}"/>
              </a:ext>
            </a:extLst>
          </p:cNvPr>
          <p:cNvSpPr txBox="1"/>
          <p:nvPr/>
        </p:nvSpPr>
        <p:spPr>
          <a:xfrm>
            <a:off x="712467" y="3879365"/>
            <a:ext cx="574357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200" dirty="0">
                <a:latin typeface="Arial" panose="020B0604020202020204" pitchFamily="34" charset="0"/>
                <a:cs typeface="Arial" panose="020B0604020202020204" pitchFamily="34" charset="0"/>
              </a:rPr>
              <a:t>La soluzione «Fideiussioni Digitali» </a:t>
            </a:r>
          </a:p>
        </p:txBody>
      </p:sp>
      <p:sp>
        <p:nvSpPr>
          <p:cNvPr id="18" name="CasellaDiTesto 17">
            <a:extLst>
              <a:ext uri="{FF2B5EF4-FFF2-40B4-BE49-F238E27FC236}">
                <a16:creationId xmlns:a16="http://schemas.microsoft.com/office/drawing/2014/main" id="{7840DC34-0584-48D1-9685-81B0F26402B6}"/>
              </a:ext>
            </a:extLst>
          </p:cNvPr>
          <p:cNvSpPr txBox="1"/>
          <p:nvPr/>
        </p:nvSpPr>
        <p:spPr>
          <a:xfrm>
            <a:off x="712467" y="5274957"/>
            <a:ext cx="518263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200" dirty="0">
                <a:latin typeface="Arial" panose="020B0604020202020204" pitchFamily="34" charset="0"/>
                <a:cs typeface="Arial" panose="020B0604020202020204" pitchFamily="34" charset="0"/>
              </a:rPr>
              <a:t>Prossimi passi</a:t>
            </a:r>
          </a:p>
        </p:txBody>
      </p:sp>
    </p:spTree>
    <p:extLst>
      <p:ext uri="{BB962C8B-B14F-4D97-AF65-F5344CB8AC3E}">
        <p14:creationId xmlns:p14="http://schemas.microsoft.com/office/powerpoint/2010/main" val="42110043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89AA93E-A76B-2C7B-D8CF-992714FDE85E}"/>
              </a:ext>
            </a:extLst>
          </p:cNvPr>
          <p:cNvSpPr txBox="1">
            <a:spLocks/>
          </p:cNvSpPr>
          <p:nvPr/>
        </p:nvSpPr>
        <p:spPr>
          <a:xfrm>
            <a:off x="355885" y="517254"/>
            <a:ext cx="11605117" cy="58100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it-IT" sz="3000" b="1" dirty="0">
                <a:solidFill>
                  <a:srgbClr val="0030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 progetto fideiussioni digitali è nato dall’esigenza di intercettare un mercato dal valore di circa 10 miliardi</a:t>
            </a:r>
          </a:p>
        </p:txBody>
      </p:sp>
      <p:sp>
        <p:nvSpPr>
          <p:cNvPr id="3" name="Rettangolo con angoli arrotondati 2">
            <a:extLst>
              <a:ext uri="{FF2B5EF4-FFF2-40B4-BE49-F238E27FC236}">
                <a16:creationId xmlns:a16="http://schemas.microsoft.com/office/drawing/2014/main" id="{0F914175-3771-2FE5-1DCF-4DBD49043121}"/>
              </a:ext>
            </a:extLst>
          </p:cNvPr>
          <p:cNvSpPr/>
          <p:nvPr/>
        </p:nvSpPr>
        <p:spPr>
          <a:xfrm>
            <a:off x="327687" y="3551020"/>
            <a:ext cx="11513962" cy="2416080"/>
          </a:xfrm>
          <a:prstGeom prst="roundRect">
            <a:avLst/>
          </a:prstGeom>
          <a:noFill/>
          <a:ln w="38100">
            <a:solidFill>
              <a:srgbClr val="A7BC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rgbClr val="D7D2CB"/>
              </a:solidFill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5F69963A-DC8A-D61C-F92B-A11192BFAC8D}"/>
              </a:ext>
            </a:extLst>
          </p:cNvPr>
          <p:cNvSpPr txBox="1"/>
          <p:nvPr/>
        </p:nvSpPr>
        <p:spPr>
          <a:xfrm>
            <a:off x="607822" y="4066562"/>
            <a:ext cx="375871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Il valore complessivo 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del mercato delle fideiussioni</a:t>
            </a: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 in Italia 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nel 2021 risulta essere di circa </a:t>
            </a:r>
            <a:r>
              <a:rPr lang="it-IT" sz="1400" b="1" i="1" dirty="0">
                <a:latin typeface="Arial" panose="020B0604020202020204" pitchFamily="34" charset="0"/>
                <a:cs typeface="Arial" panose="020B0604020202020204" pitchFamily="34" charset="0"/>
              </a:rPr>
              <a:t>1 miliardo 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fra  premi e commissioni. In </a:t>
            </a: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Europa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invece il mercato ha un valore di circa </a:t>
            </a: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10 miliardi.</a:t>
            </a:r>
            <a:endParaRPr kumimoji="0" lang="it-IT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Century Gothic" charset="0"/>
              <a:cs typeface="Arial" panose="020B0604020202020204" pitchFamily="34" charset="0"/>
              <a:sym typeface="Arial"/>
            </a:endParaRPr>
          </a:p>
          <a:p>
            <a:endParaRPr lang="it-IT" sz="1400" dirty="0"/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E46A07EB-1C96-7021-0C62-2D72EFD931B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" r="2516" b="2754"/>
          <a:stretch/>
        </p:blipFill>
        <p:spPr>
          <a:xfrm>
            <a:off x="4662569" y="3750634"/>
            <a:ext cx="2844199" cy="197950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" name="CasellaDiTesto 5">
            <a:extLst>
              <a:ext uri="{FF2B5EF4-FFF2-40B4-BE49-F238E27FC236}">
                <a16:creationId xmlns:a16="http://schemas.microsoft.com/office/drawing/2014/main" id="{D1E67A53-1D52-02D2-B296-118653E8381C}"/>
              </a:ext>
            </a:extLst>
          </p:cNvPr>
          <p:cNvSpPr txBox="1"/>
          <p:nvPr/>
        </p:nvSpPr>
        <p:spPr>
          <a:xfrm>
            <a:off x="8350725" y="3804665"/>
            <a:ext cx="264696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e garanzia assicurate</a:t>
            </a:r>
            <a:endParaRPr kumimoji="0" lang="it-IT" sz="16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2934AED1-8DA9-C05F-62BF-642E75C12E23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023208" y="3938586"/>
            <a:ext cx="3302000" cy="1815468"/>
          </a:xfrm>
          <a:prstGeom prst="rect">
            <a:avLst/>
          </a:prstGeom>
        </p:spPr>
      </p:pic>
      <p:sp>
        <p:nvSpPr>
          <p:cNvPr id="8" name="Google Shape;389;p22">
            <a:extLst>
              <a:ext uri="{FF2B5EF4-FFF2-40B4-BE49-F238E27FC236}">
                <a16:creationId xmlns:a16="http://schemas.microsoft.com/office/drawing/2014/main" id="{E110B01D-A92A-2570-7A68-EF6CA2629AC1}"/>
              </a:ext>
            </a:extLst>
          </p:cNvPr>
          <p:cNvSpPr/>
          <p:nvPr/>
        </p:nvSpPr>
        <p:spPr>
          <a:xfrm>
            <a:off x="208337" y="1558525"/>
            <a:ext cx="3717183" cy="1160546"/>
          </a:xfrm>
          <a:prstGeom prst="roundRect">
            <a:avLst/>
          </a:prstGeom>
          <a:solidFill>
            <a:srgbClr val="003057"/>
          </a:solidFill>
          <a:ln w="85725"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9" name="Google Shape;389;p22">
            <a:extLst>
              <a:ext uri="{FF2B5EF4-FFF2-40B4-BE49-F238E27FC236}">
                <a16:creationId xmlns:a16="http://schemas.microsoft.com/office/drawing/2014/main" id="{CC90C96D-8C33-3342-2E37-FFFFAE4653E7}"/>
              </a:ext>
            </a:extLst>
          </p:cNvPr>
          <p:cNvSpPr/>
          <p:nvPr/>
        </p:nvSpPr>
        <p:spPr>
          <a:xfrm>
            <a:off x="4226078" y="1558525"/>
            <a:ext cx="3717183" cy="1160546"/>
          </a:xfrm>
          <a:prstGeom prst="roundRect">
            <a:avLst/>
          </a:prstGeom>
          <a:solidFill>
            <a:srgbClr val="003057"/>
          </a:solidFill>
          <a:ln w="85725"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0" name="Google Shape;389;p22">
            <a:extLst>
              <a:ext uri="{FF2B5EF4-FFF2-40B4-BE49-F238E27FC236}">
                <a16:creationId xmlns:a16="http://schemas.microsoft.com/office/drawing/2014/main" id="{F395A7FC-7FD0-1102-0038-C82A51DCCCE0}"/>
              </a:ext>
            </a:extLst>
          </p:cNvPr>
          <p:cNvSpPr/>
          <p:nvPr/>
        </p:nvSpPr>
        <p:spPr>
          <a:xfrm>
            <a:off x="8243819" y="1558525"/>
            <a:ext cx="3717183" cy="1160546"/>
          </a:xfrm>
          <a:prstGeom prst="roundRect">
            <a:avLst/>
          </a:prstGeom>
          <a:solidFill>
            <a:srgbClr val="003057"/>
          </a:solidFill>
          <a:ln w="85725"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1" name="Google Shape;389;p22">
            <a:extLst>
              <a:ext uri="{FF2B5EF4-FFF2-40B4-BE49-F238E27FC236}">
                <a16:creationId xmlns:a16="http://schemas.microsoft.com/office/drawing/2014/main" id="{E1026EE9-E8E9-349A-75C1-EA2BAC21A618}"/>
              </a:ext>
            </a:extLst>
          </p:cNvPr>
          <p:cNvSpPr/>
          <p:nvPr/>
        </p:nvSpPr>
        <p:spPr>
          <a:xfrm>
            <a:off x="230998" y="1557998"/>
            <a:ext cx="3717183" cy="1160546"/>
          </a:xfrm>
          <a:prstGeom prst="roundRect">
            <a:avLst/>
          </a:prstGeom>
          <a:solidFill>
            <a:srgbClr val="003057"/>
          </a:solidFill>
          <a:ln w="57150">
            <a:solidFill>
              <a:srgbClr val="A7BCD6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it-IT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Intercettare un mercato in forte crescita</a:t>
            </a:r>
            <a:endParaRPr kumimoji="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2" name="Google Shape;389;p22">
            <a:extLst>
              <a:ext uri="{FF2B5EF4-FFF2-40B4-BE49-F238E27FC236}">
                <a16:creationId xmlns:a16="http://schemas.microsoft.com/office/drawing/2014/main" id="{9A8EAF64-2C2F-2C40-4E59-8B3776F6A234}"/>
              </a:ext>
            </a:extLst>
          </p:cNvPr>
          <p:cNvSpPr/>
          <p:nvPr/>
        </p:nvSpPr>
        <p:spPr>
          <a:xfrm>
            <a:off x="4248739" y="1557998"/>
            <a:ext cx="3717183" cy="1160546"/>
          </a:xfrm>
          <a:prstGeom prst="roundRect">
            <a:avLst/>
          </a:prstGeom>
          <a:solidFill>
            <a:srgbClr val="003057"/>
          </a:solidFill>
          <a:ln w="57150"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defRPr/>
            </a:pPr>
            <a:r>
              <a:rPr lang="it-IT" b="1" kern="0" dirty="0">
                <a:solidFill>
                  <a:schemeClr val="bg1"/>
                </a:solidFill>
                <a:latin typeface="Arial"/>
                <a:cs typeface="Arial"/>
                <a:sym typeface="Arial"/>
              </a:rPr>
              <a:t>Contrastare il fenomeno delle frodi</a:t>
            </a:r>
            <a:endParaRPr kumimoji="0" lang="it-IT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3" name="Google Shape;389;p22">
            <a:extLst>
              <a:ext uri="{FF2B5EF4-FFF2-40B4-BE49-F238E27FC236}">
                <a16:creationId xmlns:a16="http://schemas.microsoft.com/office/drawing/2014/main" id="{C6D210B5-C409-9F0A-EBDF-613CD2F168C7}"/>
              </a:ext>
            </a:extLst>
          </p:cNvPr>
          <p:cNvSpPr/>
          <p:nvPr/>
        </p:nvSpPr>
        <p:spPr>
          <a:xfrm>
            <a:off x="8266480" y="1557998"/>
            <a:ext cx="3717183" cy="1160546"/>
          </a:xfrm>
          <a:prstGeom prst="roundRect">
            <a:avLst/>
          </a:prstGeom>
          <a:solidFill>
            <a:srgbClr val="003057"/>
          </a:solidFill>
          <a:ln w="57150"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it-IT" b="1" kern="0" dirty="0">
                <a:solidFill>
                  <a:schemeClr val="bg1"/>
                </a:solidFill>
                <a:latin typeface="Arial"/>
                <a:cs typeface="Arial"/>
                <a:sym typeface="Arial"/>
              </a:rPr>
              <a:t>Risolvere problemi e criticità in capo a:</a:t>
            </a:r>
            <a:endParaRPr kumimoji="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4" name="Triangolo isoscele 13">
            <a:extLst>
              <a:ext uri="{FF2B5EF4-FFF2-40B4-BE49-F238E27FC236}">
                <a16:creationId xmlns:a16="http://schemas.microsoft.com/office/drawing/2014/main" id="{04E3380B-8E53-6E8C-9775-6477E27E5B81}"/>
              </a:ext>
            </a:extLst>
          </p:cNvPr>
          <p:cNvSpPr/>
          <p:nvPr/>
        </p:nvSpPr>
        <p:spPr>
          <a:xfrm rot="10800000">
            <a:off x="607822" y="2966954"/>
            <a:ext cx="2918212" cy="455915"/>
          </a:xfrm>
          <a:prstGeom prst="triangle">
            <a:avLst>
              <a:gd name="adj" fmla="val 50000"/>
            </a:avLst>
          </a:prstGeom>
          <a:solidFill>
            <a:srgbClr val="003060"/>
          </a:solidFill>
          <a:ln w="57150" cap="flat" cmpd="sng" algn="ctr">
            <a:solidFill>
              <a:srgbClr val="A7BCD6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22093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o 1">
            <a:extLst>
              <a:ext uri="{FF2B5EF4-FFF2-40B4-BE49-F238E27FC236}">
                <a16:creationId xmlns:a16="http://schemas.microsoft.com/office/drawing/2014/main" id="{337186AC-717B-7F27-6187-C44A72BC541C}"/>
              </a:ext>
            </a:extLst>
          </p:cNvPr>
          <p:cNvGrpSpPr/>
          <p:nvPr/>
        </p:nvGrpSpPr>
        <p:grpSpPr>
          <a:xfrm>
            <a:off x="208337" y="1557998"/>
            <a:ext cx="11775326" cy="1161073"/>
            <a:chOff x="193599" y="1121494"/>
            <a:chExt cx="11775326" cy="2385962"/>
          </a:xfrm>
        </p:grpSpPr>
        <p:sp>
          <p:nvSpPr>
            <p:cNvPr id="3" name="Google Shape;389;p22">
              <a:extLst>
                <a:ext uri="{FF2B5EF4-FFF2-40B4-BE49-F238E27FC236}">
                  <a16:creationId xmlns:a16="http://schemas.microsoft.com/office/drawing/2014/main" id="{75168FA5-B720-1A4F-953D-122D609D677F}"/>
                </a:ext>
              </a:extLst>
            </p:cNvPr>
            <p:cNvSpPr/>
            <p:nvPr/>
          </p:nvSpPr>
          <p:spPr>
            <a:xfrm>
              <a:off x="193599" y="1122576"/>
              <a:ext cx="3717183" cy="2384880"/>
            </a:xfrm>
            <a:prstGeom prst="roundRect">
              <a:avLst/>
            </a:prstGeom>
            <a:solidFill>
              <a:srgbClr val="003057"/>
            </a:solidFill>
            <a:ln w="85725"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4" name="Google Shape;389;p22">
              <a:extLst>
                <a:ext uri="{FF2B5EF4-FFF2-40B4-BE49-F238E27FC236}">
                  <a16:creationId xmlns:a16="http://schemas.microsoft.com/office/drawing/2014/main" id="{9F9B8A09-823E-E1DB-76CE-C38199600B85}"/>
                </a:ext>
              </a:extLst>
            </p:cNvPr>
            <p:cNvSpPr/>
            <p:nvPr/>
          </p:nvSpPr>
          <p:spPr>
            <a:xfrm>
              <a:off x="4211340" y="1122576"/>
              <a:ext cx="3717183" cy="2384880"/>
            </a:xfrm>
            <a:prstGeom prst="roundRect">
              <a:avLst/>
            </a:prstGeom>
            <a:solidFill>
              <a:srgbClr val="003057"/>
            </a:solidFill>
            <a:ln w="85725"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5" name="Google Shape;389;p22">
              <a:extLst>
                <a:ext uri="{FF2B5EF4-FFF2-40B4-BE49-F238E27FC236}">
                  <a16:creationId xmlns:a16="http://schemas.microsoft.com/office/drawing/2014/main" id="{373E9C35-B52F-789C-5BE6-099A357E4574}"/>
                </a:ext>
              </a:extLst>
            </p:cNvPr>
            <p:cNvSpPr/>
            <p:nvPr/>
          </p:nvSpPr>
          <p:spPr>
            <a:xfrm>
              <a:off x="8229081" y="1122576"/>
              <a:ext cx="3717183" cy="2384880"/>
            </a:xfrm>
            <a:prstGeom prst="roundRect">
              <a:avLst/>
            </a:prstGeom>
            <a:solidFill>
              <a:srgbClr val="003057"/>
            </a:solidFill>
            <a:ln w="85725"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6" name="Google Shape;389;p22">
              <a:extLst>
                <a:ext uri="{FF2B5EF4-FFF2-40B4-BE49-F238E27FC236}">
                  <a16:creationId xmlns:a16="http://schemas.microsoft.com/office/drawing/2014/main" id="{CD251621-87FB-ECEC-CE0B-9C47314CCE68}"/>
                </a:ext>
              </a:extLst>
            </p:cNvPr>
            <p:cNvSpPr/>
            <p:nvPr/>
          </p:nvSpPr>
          <p:spPr>
            <a:xfrm>
              <a:off x="216260" y="1121494"/>
              <a:ext cx="3717183" cy="2384880"/>
            </a:xfrm>
            <a:prstGeom prst="roundRect">
              <a:avLst/>
            </a:prstGeom>
            <a:solidFill>
              <a:srgbClr val="003057"/>
            </a:solidFill>
            <a:ln w="57150"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it-IT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Intercettare un mercato in forte crescita</a:t>
              </a:r>
              <a:endParaRPr kumimoji="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7" name="Google Shape;389;p22">
              <a:extLst>
                <a:ext uri="{FF2B5EF4-FFF2-40B4-BE49-F238E27FC236}">
                  <a16:creationId xmlns:a16="http://schemas.microsoft.com/office/drawing/2014/main" id="{5155ED7D-CCB2-FEF1-FA5D-B1F1A5F8D883}"/>
                </a:ext>
              </a:extLst>
            </p:cNvPr>
            <p:cNvSpPr/>
            <p:nvPr/>
          </p:nvSpPr>
          <p:spPr>
            <a:xfrm>
              <a:off x="4234001" y="1121494"/>
              <a:ext cx="3717183" cy="2384880"/>
            </a:xfrm>
            <a:prstGeom prst="roundRect">
              <a:avLst/>
            </a:prstGeom>
            <a:solidFill>
              <a:srgbClr val="003057"/>
            </a:solidFill>
            <a:ln w="57150">
              <a:solidFill>
                <a:srgbClr val="C4D600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>
                <a:buClr>
                  <a:srgbClr val="000000"/>
                </a:buClr>
                <a:defRPr/>
              </a:pPr>
              <a:r>
                <a:rPr lang="it-IT" b="1" kern="0" dirty="0">
                  <a:solidFill>
                    <a:schemeClr val="bg1"/>
                  </a:solidFill>
                  <a:latin typeface="Arial"/>
                  <a:cs typeface="Arial"/>
                  <a:sym typeface="Arial"/>
                </a:rPr>
                <a:t>Contrastare il fenomeno delle frodi</a:t>
              </a:r>
              <a:endParaRPr kumimoji="0" lang="it-IT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8" name="Google Shape;389;p22">
              <a:extLst>
                <a:ext uri="{FF2B5EF4-FFF2-40B4-BE49-F238E27FC236}">
                  <a16:creationId xmlns:a16="http://schemas.microsoft.com/office/drawing/2014/main" id="{B29F7BFF-8015-B6AB-4B92-47B39F4A5C39}"/>
                </a:ext>
              </a:extLst>
            </p:cNvPr>
            <p:cNvSpPr/>
            <p:nvPr/>
          </p:nvSpPr>
          <p:spPr>
            <a:xfrm>
              <a:off x="8251742" y="1121494"/>
              <a:ext cx="3717183" cy="2384880"/>
            </a:xfrm>
            <a:prstGeom prst="roundRect">
              <a:avLst/>
            </a:prstGeom>
            <a:solidFill>
              <a:srgbClr val="003057"/>
            </a:solidFill>
            <a:ln w="57150"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lang="it-IT" b="1" kern="0" dirty="0">
                  <a:solidFill>
                    <a:schemeClr val="bg1"/>
                  </a:solidFill>
                  <a:latin typeface="Arial"/>
                  <a:cs typeface="Arial"/>
                  <a:sym typeface="Arial"/>
                </a:rPr>
                <a:t>Risolvere problemi e criticità in capo a:</a:t>
              </a:r>
              <a:endParaRPr kumimoji="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9" name="Triangolo isoscele 8">
            <a:extLst>
              <a:ext uri="{FF2B5EF4-FFF2-40B4-BE49-F238E27FC236}">
                <a16:creationId xmlns:a16="http://schemas.microsoft.com/office/drawing/2014/main" id="{B2195906-337B-AD6C-A708-E9BC96E81983}"/>
              </a:ext>
            </a:extLst>
          </p:cNvPr>
          <p:cNvSpPr/>
          <p:nvPr/>
        </p:nvSpPr>
        <p:spPr>
          <a:xfrm rot="10800000">
            <a:off x="4648224" y="2966955"/>
            <a:ext cx="2918212" cy="455915"/>
          </a:xfrm>
          <a:prstGeom prst="triangle">
            <a:avLst>
              <a:gd name="adj" fmla="val 50000"/>
            </a:avLst>
          </a:prstGeom>
          <a:solidFill>
            <a:srgbClr val="003060"/>
          </a:solidFill>
          <a:ln w="57150" cap="flat" cmpd="sng" algn="ctr">
            <a:solidFill>
              <a:srgbClr val="C4D6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Rettangolo con angoli arrotondati 9">
            <a:extLst>
              <a:ext uri="{FF2B5EF4-FFF2-40B4-BE49-F238E27FC236}">
                <a16:creationId xmlns:a16="http://schemas.microsoft.com/office/drawing/2014/main" id="{ED521CB7-3871-7820-FF7C-7A957DB6F3C9}"/>
              </a:ext>
            </a:extLst>
          </p:cNvPr>
          <p:cNvSpPr/>
          <p:nvPr/>
        </p:nvSpPr>
        <p:spPr>
          <a:xfrm>
            <a:off x="327687" y="3551020"/>
            <a:ext cx="11513962" cy="2416080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C4D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B6CEE01D-77ED-22F8-0CC0-5EF665CD0ECF}"/>
              </a:ext>
            </a:extLst>
          </p:cNvPr>
          <p:cNvSpPr txBox="1"/>
          <p:nvPr/>
        </p:nvSpPr>
        <p:spPr>
          <a:xfrm>
            <a:off x="819383" y="3785703"/>
            <a:ext cx="4006581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 un </a:t>
            </a:r>
            <a:r>
              <a:rPr lang="it-IT" sz="1400" b="1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quadriennio  </a:t>
            </a:r>
            <a:r>
              <a:rPr lang="it-IT" sz="14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le Fiamme Gialle hanno accertato volumi di illeciti finanziari emersi sulle fideiussioni </a:t>
            </a:r>
            <a:r>
              <a:rPr lang="it-IT" sz="1400" b="1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per </a:t>
            </a:r>
            <a:r>
              <a:rPr lang="it-IT" sz="1400" b="1" i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1,6 miliardi</a:t>
            </a:r>
            <a:r>
              <a:rPr lang="it-IT" sz="14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Alcune delle </a:t>
            </a: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principali cause 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di queste frodi sono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lang="it-IT" sz="14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rocesso quasi </a:t>
            </a:r>
            <a:r>
              <a:rPr lang="it-IT" sz="1400" b="1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prettamente manuale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mancanza di un </a:t>
            </a: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database certificato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r>
              <a:rPr lang="it-IT" sz="14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ancanza di uno </a:t>
            </a:r>
            <a:r>
              <a:rPr lang="it-IT" sz="1400" b="1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standard</a:t>
            </a:r>
            <a:r>
              <a:rPr lang="it-IT" sz="14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nella contrattualistica;</a:t>
            </a:r>
          </a:p>
        </p:txBody>
      </p:sp>
      <p:sp>
        <p:nvSpPr>
          <p:cNvPr id="12" name="Rettangolo con angoli arrotondati 11">
            <a:extLst>
              <a:ext uri="{FF2B5EF4-FFF2-40B4-BE49-F238E27FC236}">
                <a16:creationId xmlns:a16="http://schemas.microsoft.com/office/drawing/2014/main" id="{21ABBA6E-3FE0-2979-6347-E2A292352395}"/>
              </a:ext>
            </a:extLst>
          </p:cNvPr>
          <p:cNvSpPr/>
          <p:nvPr/>
        </p:nvSpPr>
        <p:spPr>
          <a:xfrm>
            <a:off x="4825964" y="4175576"/>
            <a:ext cx="6780528" cy="1334754"/>
          </a:xfrm>
          <a:prstGeom prst="roundRect">
            <a:avLst/>
          </a:prstGeom>
          <a:noFill/>
          <a:ln>
            <a:solidFill>
              <a:srgbClr val="003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ttangolo 12">
            <a:extLst>
              <a:ext uri="{FF2B5EF4-FFF2-40B4-BE49-F238E27FC236}">
                <a16:creationId xmlns:a16="http://schemas.microsoft.com/office/drawing/2014/main" id="{A68B7745-FD7E-7E31-B76F-8961B38AD8A3}"/>
              </a:ext>
            </a:extLst>
          </p:cNvPr>
          <p:cNvSpPr/>
          <p:nvPr/>
        </p:nvSpPr>
        <p:spPr>
          <a:xfrm>
            <a:off x="6872026" y="3785703"/>
            <a:ext cx="2635931" cy="389135"/>
          </a:xfrm>
          <a:prstGeom prst="rect">
            <a:avLst/>
          </a:prstGeom>
          <a:solidFill>
            <a:srgbClr val="003057"/>
          </a:solidFill>
          <a:ln>
            <a:solidFill>
              <a:srgbClr val="003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/>
              <a:t>Punti critici</a:t>
            </a:r>
            <a:endParaRPr lang="it-IT" dirty="0"/>
          </a:p>
        </p:txBody>
      </p:sp>
      <p:grpSp>
        <p:nvGrpSpPr>
          <p:cNvPr id="14" name="Gruppo 13">
            <a:extLst>
              <a:ext uri="{FF2B5EF4-FFF2-40B4-BE49-F238E27FC236}">
                <a16:creationId xmlns:a16="http://schemas.microsoft.com/office/drawing/2014/main" id="{C8EC2ED1-D12C-346B-AFB4-B90EDECA0EFE}"/>
              </a:ext>
            </a:extLst>
          </p:cNvPr>
          <p:cNvGrpSpPr>
            <a:grpSpLocks noChangeAspect="1"/>
          </p:cNvGrpSpPr>
          <p:nvPr/>
        </p:nvGrpSpPr>
        <p:grpSpPr>
          <a:xfrm>
            <a:off x="4895349" y="4381877"/>
            <a:ext cx="6632042" cy="1018008"/>
            <a:chOff x="633341" y="4410253"/>
            <a:chExt cx="11382525" cy="1578241"/>
          </a:xfrm>
        </p:grpSpPr>
        <p:cxnSp>
          <p:nvCxnSpPr>
            <p:cNvPr id="15" name="Straight Connector 9">
              <a:extLst>
                <a:ext uri="{FF2B5EF4-FFF2-40B4-BE49-F238E27FC236}">
                  <a16:creationId xmlns:a16="http://schemas.microsoft.com/office/drawing/2014/main" id="{C418EF64-4D56-0A65-EA58-5499CE801CBD}"/>
                </a:ext>
              </a:extLst>
            </p:cNvPr>
            <p:cNvCxnSpPr>
              <a:cxnSpLocks/>
              <a:stCxn id="18" idx="5"/>
              <a:endCxn id="19" idx="2"/>
            </p:cNvCxnSpPr>
            <p:nvPr/>
          </p:nvCxnSpPr>
          <p:spPr>
            <a:xfrm flipH="1">
              <a:off x="2335547" y="4790767"/>
              <a:ext cx="7800652" cy="3353"/>
            </a:xfrm>
            <a:prstGeom prst="line">
              <a:avLst/>
            </a:prstGeom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Nom2">
              <a:extLst>
                <a:ext uri="{FF2B5EF4-FFF2-40B4-BE49-F238E27FC236}">
                  <a16:creationId xmlns:a16="http://schemas.microsoft.com/office/drawing/2014/main" id="{B7829B2D-4FF1-FF71-08F3-963E2F62CFE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665835" y="4410253"/>
              <a:ext cx="869986" cy="756000"/>
            </a:xfrm>
            <a:custGeom>
              <a:avLst/>
              <a:gdLst>
                <a:gd name="connsiteX0" fmla="*/ 1552073 w 6244389"/>
                <a:gd name="connsiteY0" fmla="*/ 0 h 5426243"/>
                <a:gd name="connsiteX1" fmla="*/ 4704347 w 6244389"/>
                <a:gd name="connsiteY1" fmla="*/ 12032 h 5426243"/>
                <a:gd name="connsiteX2" fmla="*/ 6244389 w 6244389"/>
                <a:gd name="connsiteY2" fmla="*/ 2755232 h 5426243"/>
                <a:gd name="connsiteX3" fmla="*/ 4704347 w 6244389"/>
                <a:gd name="connsiteY3" fmla="*/ 5414211 h 5426243"/>
                <a:gd name="connsiteX4" fmla="*/ 1564105 w 6244389"/>
                <a:gd name="connsiteY4" fmla="*/ 5426243 h 5426243"/>
                <a:gd name="connsiteX5" fmla="*/ 0 w 6244389"/>
                <a:gd name="connsiteY5" fmla="*/ 2731169 h 5426243"/>
                <a:gd name="connsiteX6" fmla="*/ 1552073 w 6244389"/>
                <a:gd name="connsiteY6" fmla="*/ 0 h 5426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4389" h="5426243">
                  <a:moveTo>
                    <a:pt x="1552073" y="0"/>
                  </a:moveTo>
                  <a:lnTo>
                    <a:pt x="4704347" y="12032"/>
                  </a:lnTo>
                  <a:lnTo>
                    <a:pt x="6244389" y="2755232"/>
                  </a:lnTo>
                  <a:lnTo>
                    <a:pt x="4704347" y="5414211"/>
                  </a:lnTo>
                  <a:lnTo>
                    <a:pt x="1564105" y="5426243"/>
                  </a:lnTo>
                  <a:lnTo>
                    <a:pt x="0" y="2731169"/>
                  </a:lnTo>
                  <a:lnTo>
                    <a:pt x="1552073" y="0"/>
                  </a:lnTo>
                  <a:close/>
                </a:path>
              </a:pathLst>
            </a:custGeom>
            <a:solidFill>
              <a:srgbClr val="003057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Nom2 - 1">
              <a:extLst>
                <a:ext uri="{FF2B5EF4-FFF2-40B4-BE49-F238E27FC236}">
                  <a16:creationId xmlns:a16="http://schemas.microsoft.com/office/drawing/2014/main" id="{4F4EC3A1-9245-8F95-C698-C169BD1F67F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25403" y="4410253"/>
              <a:ext cx="869986" cy="756000"/>
            </a:xfrm>
            <a:custGeom>
              <a:avLst/>
              <a:gdLst>
                <a:gd name="connsiteX0" fmla="*/ 1552073 w 6244389"/>
                <a:gd name="connsiteY0" fmla="*/ 0 h 5426243"/>
                <a:gd name="connsiteX1" fmla="*/ 4704347 w 6244389"/>
                <a:gd name="connsiteY1" fmla="*/ 12032 h 5426243"/>
                <a:gd name="connsiteX2" fmla="*/ 6244389 w 6244389"/>
                <a:gd name="connsiteY2" fmla="*/ 2755232 h 5426243"/>
                <a:gd name="connsiteX3" fmla="*/ 4704347 w 6244389"/>
                <a:gd name="connsiteY3" fmla="*/ 5414211 h 5426243"/>
                <a:gd name="connsiteX4" fmla="*/ 1564105 w 6244389"/>
                <a:gd name="connsiteY4" fmla="*/ 5426243 h 5426243"/>
                <a:gd name="connsiteX5" fmla="*/ 0 w 6244389"/>
                <a:gd name="connsiteY5" fmla="*/ 2731169 h 5426243"/>
                <a:gd name="connsiteX6" fmla="*/ 1552073 w 6244389"/>
                <a:gd name="connsiteY6" fmla="*/ 0 h 5426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4389" h="5426243">
                  <a:moveTo>
                    <a:pt x="1552073" y="0"/>
                  </a:moveTo>
                  <a:lnTo>
                    <a:pt x="4704347" y="12032"/>
                  </a:lnTo>
                  <a:lnTo>
                    <a:pt x="6244389" y="2755232"/>
                  </a:lnTo>
                  <a:lnTo>
                    <a:pt x="4704347" y="5414211"/>
                  </a:lnTo>
                  <a:lnTo>
                    <a:pt x="1564105" y="5426243"/>
                  </a:lnTo>
                  <a:lnTo>
                    <a:pt x="0" y="2731169"/>
                  </a:lnTo>
                  <a:lnTo>
                    <a:pt x="1552073" y="0"/>
                  </a:lnTo>
                  <a:close/>
                </a:path>
              </a:pathLst>
            </a:custGeom>
            <a:solidFill>
              <a:srgbClr val="003057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Nom5">
              <a:extLst>
                <a:ext uri="{FF2B5EF4-FFF2-40B4-BE49-F238E27FC236}">
                  <a16:creationId xmlns:a16="http://schemas.microsoft.com/office/drawing/2014/main" id="{AB949A30-3D4A-B329-E574-AD62BB27EED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136199" y="4410253"/>
              <a:ext cx="869986" cy="756000"/>
            </a:xfrm>
            <a:custGeom>
              <a:avLst/>
              <a:gdLst>
                <a:gd name="connsiteX0" fmla="*/ 1552073 w 6244389"/>
                <a:gd name="connsiteY0" fmla="*/ 0 h 5426243"/>
                <a:gd name="connsiteX1" fmla="*/ 4704347 w 6244389"/>
                <a:gd name="connsiteY1" fmla="*/ 12032 h 5426243"/>
                <a:gd name="connsiteX2" fmla="*/ 6244389 w 6244389"/>
                <a:gd name="connsiteY2" fmla="*/ 2755232 h 5426243"/>
                <a:gd name="connsiteX3" fmla="*/ 4704347 w 6244389"/>
                <a:gd name="connsiteY3" fmla="*/ 5414211 h 5426243"/>
                <a:gd name="connsiteX4" fmla="*/ 1564105 w 6244389"/>
                <a:gd name="connsiteY4" fmla="*/ 5426243 h 5426243"/>
                <a:gd name="connsiteX5" fmla="*/ 0 w 6244389"/>
                <a:gd name="connsiteY5" fmla="*/ 2731169 h 5426243"/>
                <a:gd name="connsiteX6" fmla="*/ 1552073 w 6244389"/>
                <a:gd name="connsiteY6" fmla="*/ 0 h 5426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4389" h="5426243">
                  <a:moveTo>
                    <a:pt x="1552073" y="0"/>
                  </a:moveTo>
                  <a:lnTo>
                    <a:pt x="4704347" y="12032"/>
                  </a:lnTo>
                  <a:lnTo>
                    <a:pt x="6244389" y="2755232"/>
                  </a:lnTo>
                  <a:lnTo>
                    <a:pt x="4704347" y="5414211"/>
                  </a:lnTo>
                  <a:lnTo>
                    <a:pt x="1564105" y="5426243"/>
                  </a:lnTo>
                  <a:lnTo>
                    <a:pt x="0" y="2731169"/>
                  </a:lnTo>
                  <a:lnTo>
                    <a:pt x="1552073" y="0"/>
                  </a:lnTo>
                  <a:close/>
                </a:path>
              </a:pathLst>
            </a:custGeom>
            <a:solidFill>
              <a:srgbClr val="003057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Nom1">
              <a:extLst>
                <a:ext uri="{FF2B5EF4-FFF2-40B4-BE49-F238E27FC236}">
                  <a16:creationId xmlns:a16="http://schemas.microsoft.com/office/drawing/2014/main" id="{793D8764-6E65-3786-00ED-D9FCE819EA8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465561" y="4410253"/>
              <a:ext cx="869986" cy="756000"/>
            </a:xfrm>
            <a:custGeom>
              <a:avLst/>
              <a:gdLst>
                <a:gd name="connsiteX0" fmla="*/ 1552073 w 6244389"/>
                <a:gd name="connsiteY0" fmla="*/ 0 h 5426243"/>
                <a:gd name="connsiteX1" fmla="*/ 4704347 w 6244389"/>
                <a:gd name="connsiteY1" fmla="*/ 12032 h 5426243"/>
                <a:gd name="connsiteX2" fmla="*/ 6244389 w 6244389"/>
                <a:gd name="connsiteY2" fmla="*/ 2755232 h 5426243"/>
                <a:gd name="connsiteX3" fmla="*/ 4704347 w 6244389"/>
                <a:gd name="connsiteY3" fmla="*/ 5414211 h 5426243"/>
                <a:gd name="connsiteX4" fmla="*/ 1564105 w 6244389"/>
                <a:gd name="connsiteY4" fmla="*/ 5426243 h 5426243"/>
                <a:gd name="connsiteX5" fmla="*/ 0 w 6244389"/>
                <a:gd name="connsiteY5" fmla="*/ 2731169 h 5426243"/>
                <a:gd name="connsiteX6" fmla="*/ 1552073 w 6244389"/>
                <a:gd name="connsiteY6" fmla="*/ 0 h 5426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4389" h="5426243">
                  <a:moveTo>
                    <a:pt x="1552073" y="0"/>
                  </a:moveTo>
                  <a:lnTo>
                    <a:pt x="4704347" y="12032"/>
                  </a:lnTo>
                  <a:lnTo>
                    <a:pt x="6244389" y="2755232"/>
                  </a:lnTo>
                  <a:lnTo>
                    <a:pt x="4704347" y="5414211"/>
                  </a:lnTo>
                  <a:lnTo>
                    <a:pt x="1564105" y="5426243"/>
                  </a:lnTo>
                  <a:lnTo>
                    <a:pt x="0" y="2731169"/>
                  </a:lnTo>
                  <a:lnTo>
                    <a:pt x="1552073" y="0"/>
                  </a:lnTo>
                  <a:close/>
                </a:path>
              </a:pathLst>
            </a:custGeom>
            <a:solidFill>
              <a:srgbClr val="003057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TextBox 22">
              <a:extLst>
                <a:ext uri="{FF2B5EF4-FFF2-40B4-BE49-F238E27FC236}">
                  <a16:creationId xmlns:a16="http://schemas.microsoft.com/office/drawing/2014/main" id="{A0A8194A-23D5-A73E-DB12-E16332ECD131}"/>
                </a:ext>
              </a:extLst>
            </p:cNvPr>
            <p:cNvSpPr txBox="1"/>
            <p:nvPr/>
          </p:nvSpPr>
          <p:spPr>
            <a:xfrm>
              <a:off x="633341" y="5177334"/>
              <a:ext cx="2534425" cy="81116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it-IT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Manomissione </a:t>
              </a:r>
            </a:p>
            <a:p>
              <a:pPr algn="ctr"/>
              <a:r>
                <a:rPr lang="it-IT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documenti</a:t>
              </a:r>
            </a:p>
          </p:txBody>
        </p:sp>
        <p:sp>
          <p:nvSpPr>
            <p:cNvPr id="21" name="TextBox 23">
              <a:extLst>
                <a:ext uri="{FF2B5EF4-FFF2-40B4-BE49-F238E27FC236}">
                  <a16:creationId xmlns:a16="http://schemas.microsoft.com/office/drawing/2014/main" id="{BBC0DF88-F3AF-D1C7-B1F3-B4A2544D578F}"/>
                </a:ext>
              </a:extLst>
            </p:cNvPr>
            <p:cNvSpPr txBox="1"/>
            <p:nvPr/>
          </p:nvSpPr>
          <p:spPr>
            <a:xfrm>
              <a:off x="3013820" y="5177334"/>
              <a:ext cx="2174014" cy="81116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it-IT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Scansione e</a:t>
              </a:r>
            </a:p>
            <a:p>
              <a:pPr algn="ctr"/>
              <a:r>
                <a:rPr lang="it-IT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duplicazione</a:t>
              </a:r>
            </a:p>
          </p:txBody>
        </p:sp>
        <p:sp>
          <p:nvSpPr>
            <p:cNvPr id="22" name="TextBox 24">
              <a:extLst>
                <a:ext uri="{FF2B5EF4-FFF2-40B4-BE49-F238E27FC236}">
                  <a16:creationId xmlns:a16="http://schemas.microsoft.com/office/drawing/2014/main" id="{6028B33B-197E-74A0-CDB5-C2081439C6A2}"/>
                </a:ext>
              </a:extLst>
            </p:cNvPr>
            <p:cNvSpPr txBox="1"/>
            <p:nvPr/>
          </p:nvSpPr>
          <p:spPr>
            <a:xfrm>
              <a:off x="5332959" y="5177334"/>
              <a:ext cx="1854873" cy="4771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b="1" noProof="1">
                  <a:latin typeface="Arial" panose="020B0604020202020204" pitchFamily="34" charset="0"/>
                  <a:cs typeface="Arial" panose="020B0604020202020204" pitchFamily="34" charset="0"/>
                </a:rPr>
                <a:t>Emissione</a:t>
              </a:r>
              <a:endParaRPr lang="it-IT" sz="14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TextBox 25">
              <a:extLst>
                <a:ext uri="{FF2B5EF4-FFF2-40B4-BE49-F238E27FC236}">
                  <a16:creationId xmlns:a16="http://schemas.microsoft.com/office/drawing/2014/main" id="{38B3CFBF-F8F6-3DB7-3799-0C976CE95CAD}"/>
                </a:ext>
              </a:extLst>
            </p:cNvPr>
            <p:cNvSpPr txBox="1"/>
            <p:nvPr/>
          </p:nvSpPr>
          <p:spPr>
            <a:xfrm>
              <a:off x="7370058" y="5177334"/>
              <a:ext cx="2091478" cy="81116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it-IT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Agenzie </a:t>
              </a:r>
            </a:p>
            <a:p>
              <a:pPr algn="ctr"/>
              <a:r>
                <a:rPr lang="it-IT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assicurative</a:t>
              </a:r>
            </a:p>
          </p:txBody>
        </p:sp>
        <p:sp>
          <p:nvSpPr>
            <p:cNvPr id="24" name="TextBox 17">
              <a:extLst>
                <a:ext uri="{FF2B5EF4-FFF2-40B4-BE49-F238E27FC236}">
                  <a16:creationId xmlns:a16="http://schemas.microsoft.com/office/drawing/2014/main" id="{D41133EC-0322-3088-618D-30F4282D5593}"/>
                </a:ext>
              </a:extLst>
            </p:cNvPr>
            <p:cNvSpPr txBox="1"/>
            <p:nvPr/>
          </p:nvSpPr>
          <p:spPr>
            <a:xfrm>
              <a:off x="9126532" y="5177334"/>
              <a:ext cx="2889334" cy="81116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it-IT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Furto dell’identità</a:t>
              </a:r>
            </a:p>
            <a:p>
              <a:pPr algn="ctr"/>
              <a:r>
                <a:rPr lang="it-IT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digitale</a:t>
              </a:r>
            </a:p>
          </p:txBody>
        </p:sp>
        <p:grpSp>
          <p:nvGrpSpPr>
            <p:cNvPr id="25" name="Smart_retail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FF622BBD-4D25-1F6B-9A86-4ADC376705D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103302" y="4544356"/>
              <a:ext cx="655386" cy="656940"/>
              <a:chOff x="5237163" y="2530475"/>
              <a:chExt cx="669925" cy="671513"/>
            </a:xfrm>
            <a:solidFill>
              <a:schemeClr val="bg1"/>
            </a:solidFill>
          </p:grpSpPr>
          <p:sp>
            <p:nvSpPr>
              <p:cNvPr id="64" name="Freeform 1025">
                <a:extLst>
                  <a:ext uri="{FF2B5EF4-FFF2-40B4-BE49-F238E27FC236}">
                    <a16:creationId xmlns:a16="http://schemas.microsoft.com/office/drawing/2014/main" id="{C8D778E3-9D0A-9193-E137-C88B662533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7513" y="2568575"/>
                <a:ext cx="100013" cy="12700"/>
              </a:xfrm>
              <a:custGeom>
                <a:avLst/>
                <a:gdLst>
                  <a:gd name="T0" fmla="*/ 134 w 134"/>
                  <a:gd name="T1" fmla="*/ 8 h 17"/>
                  <a:gd name="T2" fmla="*/ 125 w 134"/>
                  <a:gd name="T3" fmla="*/ 17 h 17"/>
                  <a:gd name="T4" fmla="*/ 9 w 134"/>
                  <a:gd name="T5" fmla="*/ 17 h 17"/>
                  <a:gd name="T6" fmla="*/ 0 w 134"/>
                  <a:gd name="T7" fmla="*/ 8 h 17"/>
                  <a:gd name="T8" fmla="*/ 0 w 134"/>
                  <a:gd name="T9" fmla="*/ 8 h 17"/>
                  <a:gd name="T10" fmla="*/ 9 w 134"/>
                  <a:gd name="T11" fmla="*/ 0 h 17"/>
                  <a:gd name="T12" fmla="*/ 125 w 134"/>
                  <a:gd name="T13" fmla="*/ 0 h 17"/>
                  <a:gd name="T14" fmla="*/ 134 w 134"/>
                  <a:gd name="T15" fmla="*/ 8 h 17"/>
                  <a:gd name="T16" fmla="*/ 134 w 134"/>
                  <a:gd name="T17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4" h="17">
                    <a:moveTo>
                      <a:pt x="134" y="8"/>
                    </a:moveTo>
                    <a:cubicBezTo>
                      <a:pt x="134" y="13"/>
                      <a:pt x="130" y="17"/>
                      <a:pt x="125" y="17"/>
                    </a:cubicBezTo>
                    <a:lnTo>
                      <a:pt x="9" y="17"/>
                    </a:lnTo>
                    <a:cubicBezTo>
                      <a:pt x="4" y="17"/>
                      <a:pt x="0" y="13"/>
                      <a:pt x="0" y="8"/>
                    </a:cubicBezTo>
                    <a:lnTo>
                      <a:pt x="0" y="8"/>
                    </a:lnTo>
                    <a:cubicBezTo>
                      <a:pt x="0" y="4"/>
                      <a:pt x="4" y="0"/>
                      <a:pt x="9" y="0"/>
                    </a:cubicBezTo>
                    <a:lnTo>
                      <a:pt x="125" y="0"/>
                    </a:lnTo>
                    <a:cubicBezTo>
                      <a:pt x="130" y="0"/>
                      <a:pt x="134" y="4"/>
                      <a:pt x="134" y="8"/>
                    </a:cubicBezTo>
                    <a:lnTo>
                      <a:pt x="134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5" name="Freeform 1026">
                <a:extLst>
                  <a:ext uri="{FF2B5EF4-FFF2-40B4-BE49-F238E27FC236}">
                    <a16:creationId xmlns:a16="http://schemas.microsoft.com/office/drawing/2014/main" id="{0C9F5B6B-FFAF-09A2-6EB7-B16137246D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2138" y="2655888"/>
                <a:ext cx="234950" cy="260350"/>
              </a:xfrm>
              <a:custGeom>
                <a:avLst/>
                <a:gdLst>
                  <a:gd name="T0" fmla="*/ 283 w 316"/>
                  <a:gd name="T1" fmla="*/ 0 h 350"/>
                  <a:gd name="T2" fmla="*/ 0 w 316"/>
                  <a:gd name="T3" fmla="*/ 0 h 350"/>
                  <a:gd name="T4" fmla="*/ 0 w 316"/>
                  <a:gd name="T5" fmla="*/ 16 h 350"/>
                  <a:gd name="T6" fmla="*/ 283 w 316"/>
                  <a:gd name="T7" fmla="*/ 16 h 350"/>
                  <a:gd name="T8" fmla="*/ 300 w 316"/>
                  <a:gd name="T9" fmla="*/ 33 h 350"/>
                  <a:gd name="T10" fmla="*/ 300 w 316"/>
                  <a:gd name="T11" fmla="*/ 316 h 350"/>
                  <a:gd name="T12" fmla="*/ 283 w 316"/>
                  <a:gd name="T13" fmla="*/ 333 h 350"/>
                  <a:gd name="T14" fmla="*/ 0 w 316"/>
                  <a:gd name="T15" fmla="*/ 333 h 350"/>
                  <a:gd name="T16" fmla="*/ 0 w 316"/>
                  <a:gd name="T17" fmla="*/ 350 h 350"/>
                  <a:gd name="T18" fmla="*/ 283 w 316"/>
                  <a:gd name="T19" fmla="*/ 350 h 350"/>
                  <a:gd name="T20" fmla="*/ 316 w 316"/>
                  <a:gd name="T21" fmla="*/ 316 h 350"/>
                  <a:gd name="T22" fmla="*/ 316 w 316"/>
                  <a:gd name="T23" fmla="*/ 33 h 350"/>
                  <a:gd name="T24" fmla="*/ 283 w 316"/>
                  <a:gd name="T25" fmla="*/ 0 h 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16" h="350">
                    <a:moveTo>
                      <a:pt x="283" y="0"/>
                    </a:moveTo>
                    <a:lnTo>
                      <a:pt x="0" y="0"/>
                    </a:lnTo>
                    <a:lnTo>
                      <a:pt x="0" y="16"/>
                    </a:lnTo>
                    <a:lnTo>
                      <a:pt x="283" y="16"/>
                    </a:lnTo>
                    <a:cubicBezTo>
                      <a:pt x="292" y="16"/>
                      <a:pt x="300" y="24"/>
                      <a:pt x="300" y="33"/>
                    </a:cubicBezTo>
                    <a:lnTo>
                      <a:pt x="300" y="316"/>
                    </a:lnTo>
                    <a:cubicBezTo>
                      <a:pt x="300" y="326"/>
                      <a:pt x="292" y="333"/>
                      <a:pt x="283" y="333"/>
                    </a:cubicBezTo>
                    <a:lnTo>
                      <a:pt x="0" y="333"/>
                    </a:lnTo>
                    <a:lnTo>
                      <a:pt x="0" y="350"/>
                    </a:lnTo>
                    <a:lnTo>
                      <a:pt x="283" y="350"/>
                    </a:lnTo>
                    <a:cubicBezTo>
                      <a:pt x="301" y="350"/>
                      <a:pt x="316" y="335"/>
                      <a:pt x="316" y="316"/>
                    </a:cubicBezTo>
                    <a:lnTo>
                      <a:pt x="316" y="33"/>
                    </a:lnTo>
                    <a:cubicBezTo>
                      <a:pt x="316" y="15"/>
                      <a:pt x="301" y="0"/>
                      <a:pt x="28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6" name="Freeform 1027">
                <a:extLst>
                  <a:ext uri="{FF2B5EF4-FFF2-40B4-BE49-F238E27FC236}">
                    <a16:creationId xmlns:a16="http://schemas.microsoft.com/office/drawing/2014/main" id="{2C09389E-1C03-5D55-3E47-4BB2B4EAA7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2138" y="2705100"/>
                <a:ext cx="234950" cy="61913"/>
              </a:xfrm>
              <a:custGeom>
                <a:avLst/>
                <a:gdLst>
                  <a:gd name="T0" fmla="*/ 0 w 148"/>
                  <a:gd name="T1" fmla="*/ 0 h 39"/>
                  <a:gd name="T2" fmla="*/ 0 w 148"/>
                  <a:gd name="T3" fmla="*/ 8 h 39"/>
                  <a:gd name="T4" fmla="*/ 140 w 148"/>
                  <a:gd name="T5" fmla="*/ 8 h 39"/>
                  <a:gd name="T6" fmla="*/ 140 w 148"/>
                  <a:gd name="T7" fmla="*/ 31 h 39"/>
                  <a:gd name="T8" fmla="*/ 0 w 148"/>
                  <a:gd name="T9" fmla="*/ 31 h 39"/>
                  <a:gd name="T10" fmla="*/ 0 w 148"/>
                  <a:gd name="T11" fmla="*/ 39 h 39"/>
                  <a:gd name="T12" fmla="*/ 148 w 148"/>
                  <a:gd name="T13" fmla="*/ 39 h 39"/>
                  <a:gd name="T14" fmla="*/ 148 w 148"/>
                  <a:gd name="T15" fmla="*/ 0 h 39"/>
                  <a:gd name="T16" fmla="*/ 0 w 148"/>
                  <a:gd name="T17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8" h="39">
                    <a:moveTo>
                      <a:pt x="0" y="0"/>
                    </a:moveTo>
                    <a:lnTo>
                      <a:pt x="0" y="8"/>
                    </a:lnTo>
                    <a:lnTo>
                      <a:pt x="140" y="8"/>
                    </a:lnTo>
                    <a:lnTo>
                      <a:pt x="140" y="31"/>
                    </a:lnTo>
                    <a:lnTo>
                      <a:pt x="0" y="31"/>
                    </a:lnTo>
                    <a:lnTo>
                      <a:pt x="0" y="39"/>
                    </a:lnTo>
                    <a:lnTo>
                      <a:pt x="148" y="39"/>
                    </a:lnTo>
                    <a:lnTo>
                      <a:pt x="148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7" name="Freeform 1028">
                <a:extLst>
                  <a:ext uri="{FF2B5EF4-FFF2-40B4-BE49-F238E27FC236}">
                    <a16:creationId xmlns:a16="http://schemas.microsoft.com/office/drawing/2014/main" id="{8B6E572D-8B5F-D8D6-AA48-3A02B0F1E15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37163" y="2730500"/>
                <a:ext cx="344488" cy="296863"/>
              </a:xfrm>
              <a:custGeom>
                <a:avLst/>
                <a:gdLst>
                  <a:gd name="T0" fmla="*/ 20 w 464"/>
                  <a:gd name="T1" fmla="*/ 134 h 400"/>
                  <a:gd name="T2" fmla="*/ 85 w 464"/>
                  <a:gd name="T3" fmla="*/ 133 h 400"/>
                  <a:gd name="T4" fmla="*/ 35 w 464"/>
                  <a:gd name="T5" fmla="*/ 183 h 400"/>
                  <a:gd name="T6" fmla="*/ 20 w 464"/>
                  <a:gd name="T7" fmla="*/ 139 h 400"/>
                  <a:gd name="T8" fmla="*/ 85 w 464"/>
                  <a:gd name="T9" fmla="*/ 200 h 400"/>
                  <a:gd name="T10" fmla="*/ 49 w 464"/>
                  <a:gd name="T11" fmla="*/ 250 h 400"/>
                  <a:gd name="T12" fmla="*/ 53 w 464"/>
                  <a:gd name="T13" fmla="*/ 266 h 400"/>
                  <a:gd name="T14" fmla="*/ 85 w 464"/>
                  <a:gd name="T15" fmla="*/ 301 h 400"/>
                  <a:gd name="T16" fmla="*/ 60 w 464"/>
                  <a:gd name="T17" fmla="*/ 290 h 400"/>
                  <a:gd name="T18" fmla="*/ 301 w 464"/>
                  <a:gd name="T19" fmla="*/ 314 h 400"/>
                  <a:gd name="T20" fmla="*/ 327 w 464"/>
                  <a:gd name="T21" fmla="*/ 266 h 400"/>
                  <a:gd name="T22" fmla="*/ 308 w 464"/>
                  <a:gd name="T23" fmla="*/ 314 h 400"/>
                  <a:gd name="T24" fmla="*/ 355 w 464"/>
                  <a:gd name="T25" fmla="*/ 133 h 400"/>
                  <a:gd name="T26" fmla="*/ 301 w 464"/>
                  <a:gd name="T27" fmla="*/ 183 h 400"/>
                  <a:gd name="T28" fmla="*/ 355 w 464"/>
                  <a:gd name="T29" fmla="*/ 133 h 400"/>
                  <a:gd name="T30" fmla="*/ 285 w 464"/>
                  <a:gd name="T31" fmla="*/ 183 h 400"/>
                  <a:gd name="T32" fmla="*/ 235 w 464"/>
                  <a:gd name="T33" fmla="*/ 133 h 400"/>
                  <a:gd name="T34" fmla="*/ 218 w 464"/>
                  <a:gd name="T35" fmla="*/ 183 h 400"/>
                  <a:gd name="T36" fmla="*/ 168 w 464"/>
                  <a:gd name="T37" fmla="*/ 133 h 400"/>
                  <a:gd name="T38" fmla="*/ 218 w 464"/>
                  <a:gd name="T39" fmla="*/ 183 h 400"/>
                  <a:gd name="T40" fmla="*/ 101 w 464"/>
                  <a:gd name="T41" fmla="*/ 200 h 400"/>
                  <a:gd name="T42" fmla="*/ 151 w 464"/>
                  <a:gd name="T43" fmla="*/ 250 h 400"/>
                  <a:gd name="T44" fmla="*/ 151 w 464"/>
                  <a:gd name="T45" fmla="*/ 305 h 400"/>
                  <a:gd name="T46" fmla="*/ 101 w 464"/>
                  <a:gd name="T47" fmla="*/ 266 h 400"/>
                  <a:gd name="T48" fmla="*/ 151 w 464"/>
                  <a:gd name="T49" fmla="*/ 305 h 400"/>
                  <a:gd name="T50" fmla="*/ 168 w 464"/>
                  <a:gd name="T51" fmla="*/ 306 h 400"/>
                  <a:gd name="T52" fmla="*/ 218 w 464"/>
                  <a:gd name="T53" fmla="*/ 266 h 400"/>
                  <a:gd name="T54" fmla="*/ 285 w 464"/>
                  <a:gd name="T55" fmla="*/ 266 h 400"/>
                  <a:gd name="T56" fmla="*/ 235 w 464"/>
                  <a:gd name="T57" fmla="*/ 310 h 400"/>
                  <a:gd name="T58" fmla="*/ 285 w 464"/>
                  <a:gd name="T59" fmla="*/ 266 h 400"/>
                  <a:gd name="T60" fmla="*/ 285 w 464"/>
                  <a:gd name="T61" fmla="*/ 200 h 400"/>
                  <a:gd name="T62" fmla="*/ 235 w 464"/>
                  <a:gd name="T63" fmla="*/ 250 h 400"/>
                  <a:gd name="T64" fmla="*/ 218 w 464"/>
                  <a:gd name="T65" fmla="*/ 250 h 400"/>
                  <a:gd name="T66" fmla="*/ 168 w 464"/>
                  <a:gd name="T67" fmla="*/ 200 h 400"/>
                  <a:gd name="T68" fmla="*/ 218 w 464"/>
                  <a:gd name="T69" fmla="*/ 250 h 400"/>
                  <a:gd name="T70" fmla="*/ 301 w 464"/>
                  <a:gd name="T71" fmla="*/ 250 h 400"/>
                  <a:gd name="T72" fmla="*/ 341 w 464"/>
                  <a:gd name="T73" fmla="*/ 200 h 400"/>
                  <a:gd name="T74" fmla="*/ 151 w 464"/>
                  <a:gd name="T75" fmla="*/ 183 h 400"/>
                  <a:gd name="T76" fmla="*/ 101 w 464"/>
                  <a:gd name="T77" fmla="*/ 133 h 400"/>
                  <a:gd name="T78" fmla="*/ 151 w 464"/>
                  <a:gd name="T79" fmla="*/ 183 h 400"/>
                  <a:gd name="T80" fmla="*/ 43 w 464"/>
                  <a:gd name="T81" fmla="*/ 294 h 400"/>
                  <a:gd name="T82" fmla="*/ 305 w 464"/>
                  <a:gd name="T83" fmla="*/ 331 h 400"/>
                  <a:gd name="T84" fmla="*/ 306 w 464"/>
                  <a:gd name="T85" fmla="*/ 383 h 400"/>
                  <a:gd name="T86" fmla="*/ 56 w 464"/>
                  <a:gd name="T87" fmla="*/ 391 h 400"/>
                  <a:gd name="T88" fmla="*/ 114 w 464"/>
                  <a:gd name="T89" fmla="*/ 400 h 400"/>
                  <a:gd name="T90" fmla="*/ 306 w 464"/>
                  <a:gd name="T91" fmla="*/ 400 h 400"/>
                  <a:gd name="T92" fmla="*/ 331 w 464"/>
                  <a:gd name="T93" fmla="*/ 325 h 400"/>
                  <a:gd name="T94" fmla="*/ 431 w 464"/>
                  <a:gd name="T95" fmla="*/ 16 h 400"/>
                  <a:gd name="T96" fmla="*/ 464 w 464"/>
                  <a:gd name="T97" fmla="*/ 16 h 400"/>
                  <a:gd name="T98" fmla="*/ 448 w 464"/>
                  <a:gd name="T99" fmla="*/ 0 h 400"/>
                  <a:gd name="T100" fmla="*/ 359 w 464"/>
                  <a:gd name="T101" fmla="*/ 116 h 400"/>
                  <a:gd name="T102" fmla="*/ 5 w 464"/>
                  <a:gd name="T103" fmla="*/ 124 h 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64" h="400">
                    <a:moveTo>
                      <a:pt x="20" y="139"/>
                    </a:moveTo>
                    <a:cubicBezTo>
                      <a:pt x="20" y="137"/>
                      <a:pt x="19" y="135"/>
                      <a:pt x="20" y="134"/>
                    </a:cubicBezTo>
                    <a:cubicBezTo>
                      <a:pt x="20" y="134"/>
                      <a:pt x="21" y="133"/>
                      <a:pt x="23" y="133"/>
                    </a:cubicBezTo>
                    <a:lnTo>
                      <a:pt x="85" y="133"/>
                    </a:lnTo>
                    <a:lnTo>
                      <a:pt x="85" y="183"/>
                    </a:lnTo>
                    <a:lnTo>
                      <a:pt x="35" y="183"/>
                    </a:lnTo>
                    <a:lnTo>
                      <a:pt x="35" y="185"/>
                    </a:lnTo>
                    <a:lnTo>
                      <a:pt x="20" y="139"/>
                    </a:lnTo>
                    <a:close/>
                    <a:moveTo>
                      <a:pt x="35" y="200"/>
                    </a:moveTo>
                    <a:lnTo>
                      <a:pt x="85" y="200"/>
                    </a:lnTo>
                    <a:lnTo>
                      <a:pt x="85" y="250"/>
                    </a:lnTo>
                    <a:lnTo>
                      <a:pt x="49" y="250"/>
                    </a:lnTo>
                    <a:lnTo>
                      <a:pt x="35" y="200"/>
                    </a:lnTo>
                    <a:close/>
                    <a:moveTo>
                      <a:pt x="53" y="266"/>
                    </a:moveTo>
                    <a:lnTo>
                      <a:pt x="85" y="266"/>
                    </a:lnTo>
                    <a:lnTo>
                      <a:pt x="85" y="301"/>
                    </a:lnTo>
                    <a:lnTo>
                      <a:pt x="75" y="301"/>
                    </a:lnTo>
                    <a:cubicBezTo>
                      <a:pt x="69" y="300"/>
                      <a:pt x="62" y="295"/>
                      <a:pt x="60" y="290"/>
                    </a:cubicBezTo>
                    <a:lnTo>
                      <a:pt x="53" y="266"/>
                    </a:lnTo>
                    <a:close/>
                    <a:moveTo>
                      <a:pt x="301" y="314"/>
                    </a:moveTo>
                    <a:lnTo>
                      <a:pt x="301" y="266"/>
                    </a:lnTo>
                    <a:lnTo>
                      <a:pt x="327" y="266"/>
                    </a:lnTo>
                    <a:lnTo>
                      <a:pt x="316" y="316"/>
                    </a:lnTo>
                    <a:cubicBezTo>
                      <a:pt x="313" y="315"/>
                      <a:pt x="312" y="315"/>
                      <a:pt x="308" y="314"/>
                    </a:cubicBezTo>
                    <a:lnTo>
                      <a:pt x="301" y="314"/>
                    </a:lnTo>
                    <a:close/>
                    <a:moveTo>
                      <a:pt x="355" y="133"/>
                    </a:moveTo>
                    <a:lnTo>
                      <a:pt x="345" y="183"/>
                    </a:lnTo>
                    <a:lnTo>
                      <a:pt x="301" y="183"/>
                    </a:lnTo>
                    <a:lnTo>
                      <a:pt x="301" y="133"/>
                    </a:lnTo>
                    <a:lnTo>
                      <a:pt x="355" y="133"/>
                    </a:lnTo>
                    <a:close/>
                    <a:moveTo>
                      <a:pt x="285" y="133"/>
                    </a:moveTo>
                    <a:lnTo>
                      <a:pt x="285" y="183"/>
                    </a:lnTo>
                    <a:lnTo>
                      <a:pt x="235" y="183"/>
                    </a:lnTo>
                    <a:lnTo>
                      <a:pt x="235" y="133"/>
                    </a:lnTo>
                    <a:lnTo>
                      <a:pt x="285" y="133"/>
                    </a:lnTo>
                    <a:close/>
                    <a:moveTo>
                      <a:pt x="218" y="183"/>
                    </a:moveTo>
                    <a:lnTo>
                      <a:pt x="168" y="183"/>
                    </a:lnTo>
                    <a:lnTo>
                      <a:pt x="168" y="133"/>
                    </a:lnTo>
                    <a:lnTo>
                      <a:pt x="218" y="133"/>
                    </a:lnTo>
                    <a:lnTo>
                      <a:pt x="218" y="183"/>
                    </a:lnTo>
                    <a:close/>
                    <a:moveTo>
                      <a:pt x="101" y="250"/>
                    </a:moveTo>
                    <a:lnTo>
                      <a:pt x="101" y="200"/>
                    </a:lnTo>
                    <a:lnTo>
                      <a:pt x="151" y="200"/>
                    </a:lnTo>
                    <a:lnTo>
                      <a:pt x="151" y="250"/>
                    </a:lnTo>
                    <a:lnTo>
                      <a:pt x="101" y="250"/>
                    </a:lnTo>
                    <a:close/>
                    <a:moveTo>
                      <a:pt x="151" y="305"/>
                    </a:moveTo>
                    <a:lnTo>
                      <a:pt x="101" y="302"/>
                    </a:lnTo>
                    <a:lnTo>
                      <a:pt x="101" y="266"/>
                    </a:lnTo>
                    <a:lnTo>
                      <a:pt x="151" y="266"/>
                    </a:lnTo>
                    <a:lnTo>
                      <a:pt x="151" y="305"/>
                    </a:lnTo>
                    <a:close/>
                    <a:moveTo>
                      <a:pt x="218" y="309"/>
                    </a:moveTo>
                    <a:lnTo>
                      <a:pt x="168" y="306"/>
                    </a:lnTo>
                    <a:lnTo>
                      <a:pt x="168" y="266"/>
                    </a:lnTo>
                    <a:lnTo>
                      <a:pt x="218" y="266"/>
                    </a:lnTo>
                    <a:lnTo>
                      <a:pt x="218" y="309"/>
                    </a:lnTo>
                    <a:close/>
                    <a:moveTo>
                      <a:pt x="285" y="266"/>
                    </a:moveTo>
                    <a:lnTo>
                      <a:pt x="285" y="313"/>
                    </a:lnTo>
                    <a:lnTo>
                      <a:pt x="235" y="310"/>
                    </a:lnTo>
                    <a:lnTo>
                      <a:pt x="235" y="266"/>
                    </a:lnTo>
                    <a:lnTo>
                      <a:pt x="285" y="266"/>
                    </a:lnTo>
                    <a:close/>
                    <a:moveTo>
                      <a:pt x="235" y="200"/>
                    </a:moveTo>
                    <a:lnTo>
                      <a:pt x="285" y="200"/>
                    </a:lnTo>
                    <a:lnTo>
                      <a:pt x="285" y="250"/>
                    </a:lnTo>
                    <a:lnTo>
                      <a:pt x="235" y="250"/>
                    </a:lnTo>
                    <a:lnTo>
                      <a:pt x="235" y="200"/>
                    </a:lnTo>
                    <a:close/>
                    <a:moveTo>
                      <a:pt x="218" y="250"/>
                    </a:moveTo>
                    <a:lnTo>
                      <a:pt x="168" y="250"/>
                    </a:lnTo>
                    <a:lnTo>
                      <a:pt x="168" y="200"/>
                    </a:lnTo>
                    <a:lnTo>
                      <a:pt x="218" y="200"/>
                    </a:lnTo>
                    <a:lnTo>
                      <a:pt x="218" y="250"/>
                    </a:lnTo>
                    <a:close/>
                    <a:moveTo>
                      <a:pt x="330" y="250"/>
                    </a:moveTo>
                    <a:lnTo>
                      <a:pt x="301" y="250"/>
                    </a:lnTo>
                    <a:lnTo>
                      <a:pt x="301" y="200"/>
                    </a:lnTo>
                    <a:lnTo>
                      <a:pt x="341" y="200"/>
                    </a:lnTo>
                    <a:lnTo>
                      <a:pt x="330" y="250"/>
                    </a:lnTo>
                    <a:close/>
                    <a:moveTo>
                      <a:pt x="151" y="183"/>
                    </a:moveTo>
                    <a:lnTo>
                      <a:pt x="101" y="183"/>
                    </a:lnTo>
                    <a:lnTo>
                      <a:pt x="101" y="133"/>
                    </a:lnTo>
                    <a:lnTo>
                      <a:pt x="151" y="133"/>
                    </a:lnTo>
                    <a:lnTo>
                      <a:pt x="151" y="183"/>
                    </a:lnTo>
                    <a:close/>
                    <a:moveTo>
                      <a:pt x="2" y="143"/>
                    </a:moveTo>
                    <a:lnTo>
                      <a:pt x="43" y="294"/>
                    </a:lnTo>
                    <a:cubicBezTo>
                      <a:pt x="47" y="306"/>
                      <a:pt x="59" y="317"/>
                      <a:pt x="72" y="317"/>
                    </a:cubicBezTo>
                    <a:lnTo>
                      <a:pt x="305" y="331"/>
                    </a:lnTo>
                    <a:cubicBezTo>
                      <a:pt x="319" y="332"/>
                      <a:pt x="331" y="344"/>
                      <a:pt x="331" y="358"/>
                    </a:cubicBezTo>
                    <a:cubicBezTo>
                      <a:pt x="331" y="372"/>
                      <a:pt x="320" y="383"/>
                      <a:pt x="306" y="383"/>
                    </a:cubicBezTo>
                    <a:lnTo>
                      <a:pt x="64" y="383"/>
                    </a:lnTo>
                    <a:cubicBezTo>
                      <a:pt x="60" y="383"/>
                      <a:pt x="56" y="387"/>
                      <a:pt x="56" y="391"/>
                    </a:cubicBezTo>
                    <a:cubicBezTo>
                      <a:pt x="56" y="396"/>
                      <a:pt x="60" y="400"/>
                      <a:pt x="64" y="400"/>
                    </a:cubicBezTo>
                    <a:lnTo>
                      <a:pt x="114" y="400"/>
                    </a:lnTo>
                    <a:lnTo>
                      <a:pt x="281" y="400"/>
                    </a:lnTo>
                    <a:lnTo>
                      <a:pt x="306" y="400"/>
                    </a:lnTo>
                    <a:cubicBezTo>
                      <a:pt x="329" y="400"/>
                      <a:pt x="348" y="381"/>
                      <a:pt x="348" y="358"/>
                    </a:cubicBezTo>
                    <a:cubicBezTo>
                      <a:pt x="348" y="345"/>
                      <a:pt x="341" y="333"/>
                      <a:pt x="331" y="325"/>
                    </a:cubicBezTo>
                    <a:lnTo>
                      <a:pt x="397" y="16"/>
                    </a:lnTo>
                    <a:lnTo>
                      <a:pt x="431" y="16"/>
                    </a:lnTo>
                    <a:cubicBezTo>
                      <a:pt x="431" y="26"/>
                      <a:pt x="438" y="33"/>
                      <a:pt x="448" y="33"/>
                    </a:cubicBezTo>
                    <a:cubicBezTo>
                      <a:pt x="457" y="33"/>
                      <a:pt x="464" y="26"/>
                      <a:pt x="464" y="16"/>
                    </a:cubicBezTo>
                    <a:cubicBezTo>
                      <a:pt x="464" y="8"/>
                      <a:pt x="458" y="2"/>
                      <a:pt x="451" y="0"/>
                    </a:cubicBezTo>
                    <a:cubicBezTo>
                      <a:pt x="450" y="0"/>
                      <a:pt x="449" y="0"/>
                      <a:pt x="448" y="0"/>
                    </a:cubicBezTo>
                    <a:lnTo>
                      <a:pt x="384" y="0"/>
                    </a:lnTo>
                    <a:lnTo>
                      <a:pt x="359" y="116"/>
                    </a:lnTo>
                    <a:lnTo>
                      <a:pt x="23" y="116"/>
                    </a:lnTo>
                    <a:cubicBezTo>
                      <a:pt x="15" y="116"/>
                      <a:pt x="9" y="119"/>
                      <a:pt x="5" y="124"/>
                    </a:cubicBezTo>
                    <a:cubicBezTo>
                      <a:pt x="1" y="129"/>
                      <a:pt x="0" y="136"/>
                      <a:pt x="2" y="143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8" name="Freeform 1029">
                <a:extLst>
                  <a:ext uri="{FF2B5EF4-FFF2-40B4-BE49-F238E27FC236}">
                    <a16:creationId xmlns:a16="http://schemas.microsoft.com/office/drawing/2014/main" id="{5573B83C-2F01-671D-3882-F7211FAA94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1313" y="3027363"/>
                <a:ext cx="49213" cy="49213"/>
              </a:xfrm>
              <a:custGeom>
                <a:avLst/>
                <a:gdLst>
                  <a:gd name="T0" fmla="*/ 50 w 66"/>
                  <a:gd name="T1" fmla="*/ 33 h 66"/>
                  <a:gd name="T2" fmla="*/ 33 w 66"/>
                  <a:gd name="T3" fmla="*/ 50 h 66"/>
                  <a:gd name="T4" fmla="*/ 16 w 66"/>
                  <a:gd name="T5" fmla="*/ 33 h 66"/>
                  <a:gd name="T6" fmla="*/ 33 w 66"/>
                  <a:gd name="T7" fmla="*/ 16 h 66"/>
                  <a:gd name="T8" fmla="*/ 50 w 66"/>
                  <a:gd name="T9" fmla="*/ 33 h 66"/>
                  <a:gd name="T10" fmla="*/ 33 w 66"/>
                  <a:gd name="T11" fmla="*/ 0 h 66"/>
                  <a:gd name="T12" fmla="*/ 0 w 66"/>
                  <a:gd name="T13" fmla="*/ 33 h 66"/>
                  <a:gd name="T14" fmla="*/ 33 w 66"/>
                  <a:gd name="T15" fmla="*/ 66 h 66"/>
                  <a:gd name="T16" fmla="*/ 66 w 66"/>
                  <a:gd name="T17" fmla="*/ 33 h 66"/>
                  <a:gd name="T18" fmla="*/ 33 w 66"/>
                  <a:gd name="T19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6" h="66">
                    <a:moveTo>
                      <a:pt x="50" y="33"/>
                    </a:moveTo>
                    <a:cubicBezTo>
                      <a:pt x="50" y="42"/>
                      <a:pt x="42" y="50"/>
                      <a:pt x="33" y="50"/>
                    </a:cubicBezTo>
                    <a:cubicBezTo>
                      <a:pt x="24" y="50"/>
                      <a:pt x="16" y="42"/>
                      <a:pt x="16" y="33"/>
                    </a:cubicBezTo>
                    <a:cubicBezTo>
                      <a:pt x="16" y="24"/>
                      <a:pt x="24" y="16"/>
                      <a:pt x="33" y="16"/>
                    </a:cubicBezTo>
                    <a:cubicBezTo>
                      <a:pt x="42" y="16"/>
                      <a:pt x="50" y="24"/>
                      <a:pt x="50" y="33"/>
                    </a:cubicBezTo>
                    <a:close/>
                    <a:moveTo>
                      <a:pt x="33" y="0"/>
                    </a:moveTo>
                    <a:cubicBezTo>
                      <a:pt x="14" y="0"/>
                      <a:pt x="0" y="15"/>
                      <a:pt x="0" y="33"/>
                    </a:cubicBezTo>
                    <a:cubicBezTo>
                      <a:pt x="0" y="51"/>
                      <a:pt x="14" y="66"/>
                      <a:pt x="33" y="66"/>
                    </a:cubicBezTo>
                    <a:cubicBezTo>
                      <a:pt x="51" y="66"/>
                      <a:pt x="66" y="51"/>
                      <a:pt x="66" y="33"/>
                    </a:cubicBezTo>
                    <a:cubicBezTo>
                      <a:pt x="66" y="15"/>
                      <a:pt x="51" y="0"/>
                      <a:pt x="3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9" name="Freeform 1030">
                <a:extLst>
                  <a:ext uri="{FF2B5EF4-FFF2-40B4-BE49-F238E27FC236}">
                    <a16:creationId xmlns:a16="http://schemas.microsoft.com/office/drawing/2014/main" id="{A75F7A15-D323-92D6-E6A0-99D451AAE3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7488" y="3027363"/>
                <a:ext cx="49213" cy="49213"/>
              </a:xfrm>
              <a:custGeom>
                <a:avLst/>
                <a:gdLst>
                  <a:gd name="T0" fmla="*/ 50 w 67"/>
                  <a:gd name="T1" fmla="*/ 33 h 66"/>
                  <a:gd name="T2" fmla="*/ 33 w 67"/>
                  <a:gd name="T3" fmla="*/ 50 h 66"/>
                  <a:gd name="T4" fmla="*/ 17 w 67"/>
                  <a:gd name="T5" fmla="*/ 33 h 66"/>
                  <a:gd name="T6" fmla="*/ 33 w 67"/>
                  <a:gd name="T7" fmla="*/ 16 h 66"/>
                  <a:gd name="T8" fmla="*/ 50 w 67"/>
                  <a:gd name="T9" fmla="*/ 33 h 66"/>
                  <a:gd name="T10" fmla="*/ 33 w 67"/>
                  <a:gd name="T11" fmla="*/ 0 h 66"/>
                  <a:gd name="T12" fmla="*/ 0 w 67"/>
                  <a:gd name="T13" fmla="*/ 33 h 66"/>
                  <a:gd name="T14" fmla="*/ 33 w 67"/>
                  <a:gd name="T15" fmla="*/ 66 h 66"/>
                  <a:gd name="T16" fmla="*/ 67 w 67"/>
                  <a:gd name="T17" fmla="*/ 33 h 66"/>
                  <a:gd name="T18" fmla="*/ 33 w 67"/>
                  <a:gd name="T19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7" h="66">
                    <a:moveTo>
                      <a:pt x="50" y="33"/>
                    </a:moveTo>
                    <a:cubicBezTo>
                      <a:pt x="50" y="42"/>
                      <a:pt x="42" y="50"/>
                      <a:pt x="33" y="50"/>
                    </a:cubicBezTo>
                    <a:cubicBezTo>
                      <a:pt x="24" y="50"/>
                      <a:pt x="17" y="42"/>
                      <a:pt x="17" y="33"/>
                    </a:cubicBezTo>
                    <a:cubicBezTo>
                      <a:pt x="17" y="24"/>
                      <a:pt x="24" y="16"/>
                      <a:pt x="33" y="16"/>
                    </a:cubicBezTo>
                    <a:cubicBezTo>
                      <a:pt x="42" y="16"/>
                      <a:pt x="50" y="24"/>
                      <a:pt x="50" y="33"/>
                    </a:cubicBezTo>
                    <a:close/>
                    <a:moveTo>
                      <a:pt x="33" y="0"/>
                    </a:moveTo>
                    <a:cubicBezTo>
                      <a:pt x="15" y="0"/>
                      <a:pt x="0" y="15"/>
                      <a:pt x="0" y="33"/>
                    </a:cubicBezTo>
                    <a:cubicBezTo>
                      <a:pt x="0" y="51"/>
                      <a:pt x="15" y="66"/>
                      <a:pt x="33" y="66"/>
                    </a:cubicBezTo>
                    <a:cubicBezTo>
                      <a:pt x="52" y="66"/>
                      <a:pt x="67" y="51"/>
                      <a:pt x="67" y="33"/>
                    </a:cubicBezTo>
                    <a:cubicBezTo>
                      <a:pt x="67" y="15"/>
                      <a:pt x="52" y="0"/>
                      <a:pt x="3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0" name="Rectangle 1031">
                <a:extLst>
                  <a:ext uri="{FF2B5EF4-FFF2-40B4-BE49-F238E27FC236}">
                    <a16:creationId xmlns:a16="http://schemas.microsoft.com/office/drawing/2014/main" id="{D28AC19A-0917-51AC-30B7-BD65AB1A79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22913" y="2978150"/>
                <a:ext cx="98425" cy="127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1" name="Rectangle 1032">
                <a:extLst>
                  <a:ext uri="{FF2B5EF4-FFF2-40B4-BE49-F238E27FC236}">
                    <a16:creationId xmlns:a16="http://schemas.microsoft.com/office/drawing/2014/main" id="{2B4B9C13-1228-A621-610A-F8AD8B3D86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10213" y="3014663"/>
                <a:ext cx="49213" cy="127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2" name="Rectangle 1033">
                <a:extLst>
                  <a:ext uri="{FF2B5EF4-FFF2-40B4-BE49-F238E27FC236}">
                    <a16:creationId xmlns:a16="http://schemas.microsoft.com/office/drawing/2014/main" id="{CC7CB060-425C-286E-BEC0-D354F8E901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6738" y="2643188"/>
                <a:ext cx="12700" cy="2968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3" name="Rectangle 1034">
                <a:extLst>
                  <a:ext uri="{FF2B5EF4-FFF2-40B4-BE49-F238E27FC236}">
                    <a16:creationId xmlns:a16="http://schemas.microsoft.com/office/drawing/2014/main" id="{11F5A9B2-2441-31E4-926C-ECF9E7C08A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6738" y="2630488"/>
                <a:ext cx="36513" cy="127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4" name="Rectangle 1035">
                <a:extLst>
                  <a:ext uri="{FF2B5EF4-FFF2-40B4-BE49-F238E27FC236}">
                    <a16:creationId xmlns:a16="http://schemas.microsoft.com/office/drawing/2014/main" id="{BA91345B-5AD9-3B67-4A0A-042396F452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6738" y="2927350"/>
                <a:ext cx="36513" cy="127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5" name="Freeform 1036">
                <a:extLst>
                  <a:ext uri="{FF2B5EF4-FFF2-40B4-BE49-F238E27FC236}">
                    <a16:creationId xmlns:a16="http://schemas.microsoft.com/office/drawing/2014/main" id="{6A090126-D3E8-AB30-C6AE-63672DBB7F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22913" y="3114675"/>
                <a:ext cx="49213" cy="49213"/>
              </a:xfrm>
              <a:custGeom>
                <a:avLst/>
                <a:gdLst>
                  <a:gd name="T0" fmla="*/ 16 w 66"/>
                  <a:gd name="T1" fmla="*/ 17 h 67"/>
                  <a:gd name="T2" fmla="*/ 16 w 66"/>
                  <a:gd name="T3" fmla="*/ 50 h 67"/>
                  <a:gd name="T4" fmla="*/ 50 w 66"/>
                  <a:gd name="T5" fmla="*/ 50 h 67"/>
                  <a:gd name="T6" fmla="*/ 50 w 66"/>
                  <a:gd name="T7" fmla="*/ 17 h 67"/>
                  <a:gd name="T8" fmla="*/ 16 w 66"/>
                  <a:gd name="T9" fmla="*/ 17 h 67"/>
                  <a:gd name="T10" fmla="*/ 50 w 66"/>
                  <a:gd name="T11" fmla="*/ 50 h 67"/>
                  <a:gd name="T12" fmla="*/ 50 w 66"/>
                  <a:gd name="T13" fmla="*/ 67 h 67"/>
                  <a:gd name="T14" fmla="*/ 16 w 66"/>
                  <a:gd name="T15" fmla="*/ 67 h 67"/>
                  <a:gd name="T16" fmla="*/ 0 w 66"/>
                  <a:gd name="T17" fmla="*/ 50 h 67"/>
                  <a:gd name="T18" fmla="*/ 0 w 66"/>
                  <a:gd name="T19" fmla="*/ 17 h 67"/>
                  <a:gd name="T20" fmla="*/ 16 w 66"/>
                  <a:gd name="T21" fmla="*/ 0 h 67"/>
                  <a:gd name="T22" fmla="*/ 50 w 66"/>
                  <a:gd name="T23" fmla="*/ 0 h 67"/>
                  <a:gd name="T24" fmla="*/ 66 w 66"/>
                  <a:gd name="T25" fmla="*/ 17 h 67"/>
                  <a:gd name="T26" fmla="*/ 66 w 66"/>
                  <a:gd name="T27" fmla="*/ 50 h 67"/>
                  <a:gd name="T28" fmla="*/ 50 w 66"/>
                  <a:gd name="T29" fmla="*/ 6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6" h="67">
                    <a:moveTo>
                      <a:pt x="16" y="17"/>
                    </a:moveTo>
                    <a:lnTo>
                      <a:pt x="16" y="50"/>
                    </a:lnTo>
                    <a:lnTo>
                      <a:pt x="50" y="50"/>
                    </a:lnTo>
                    <a:lnTo>
                      <a:pt x="50" y="17"/>
                    </a:lnTo>
                    <a:lnTo>
                      <a:pt x="16" y="17"/>
                    </a:lnTo>
                    <a:close/>
                    <a:moveTo>
                      <a:pt x="50" y="50"/>
                    </a:moveTo>
                    <a:close/>
                    <a:moveTo>
                      <a:pt x="50" y="67"/>
                    </a:moveTo>
                    <a:lnTo>
                      <a:pt x="16" y="67"/>
                    </a:lnTo>
                    <a:cubicBezTo>
                      <a:pt x="7" y="67"/>
                      <a:pt x="0" y="60"/>
                      <a:pt x="0" y="50"/>
                    </a:cubicBezTo>
                    <a:lnTo>
                      <a:pt x="0" y="17"/>
                    </a:lnTo>
                    <a:cubicBezTo>
                      <a:pt x="0" y="8"/>
                      <a:pt x="7" y="0"/>
                      <a:pt x="16" y="0"/>
                    </a:cubicBezTo>
                    <a:lnTo>
                      <a:pt x="50" y="0"/>
                    </a:lnTo>
                    <a:cubicBezTo>
                      <a:pt x="59" y="0"/>
                      <a:pt x="66" y="8"/>
                      <a:pt x="66" y="17"/>
                    </a:cubicBezTo>
                    <a:lnTo>
                      <a:pt x="66" y="50"/>
                    </a:lnTo>
                    <a:cubicBezTo>
                      <a:pt x="66" y="60"/>
                      <a:pt x="59" y="67"/>
                      <a:pt x="50" y="6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6" name="Freeform 1037">
                <a:extLst>
                  <a:ext uri="{FF2B5EF4-FFF2-40B4-BE49-F238E27FC236}">
                    <a16:creationId xmlns:a16="http://schemas.microsoft.com/office/drawing/2014/main" id="{80D092A2-00C8-07F6-0BD3-20D382BE82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0988" y="2916238"/>
                <a:ext cx="373063" cy="285750"/>
              </a:xfrm>
              <a:custGeom>
                <a:avLst/>
                <a:gdLst>
                  <a:gd name="T0" fmla="*/ 483 w 500"/>
                  <a:gd name="T1" fmla="*/ 315 h 383"/>
                  <a:gd name="T2" fmla="*/ 433 w 500"/>
                  <a:gd name="T3" fmla="*/ 366 h 383"/>
                  <a:gd name="T4" fmla="*/ 67 w 500"/>
                  <a:gd name="T5" fmla="*/ 366 h 383"/>
                  <a:gd name="T6" fmla="*/ 17 w 500"/>
                  <a:gd name="T7" fmla="*/ 315 h 383"/>
                  <a:gd name="T8" fmla="*/ 17 w 500"/>
                  <a:gd name="T9" fmla="*/ 200 h 383"/>
                  <a:gd name="T10" fmla="*/ 0 w 500"/>
                  <a:gd name="T11" fmla="*/ 200 h 383"/>
                  <a:gd name="T12" fmla="*/ 0 w 500"/>
                  <a:gd name="T13" fmla="*/ 315 h 383"/>
                  <a:gd name="T14" fmla="*/ 67 w 500"/>
                  <a:gd name="T15" fmla="*/ 383 h 383"/>
                  <a:gd name="T16" fmla="*/ 433 w 500"/>
                  <a:gd name="T17" fmla="*/ 383 h 383"/>
                  <a:gd name="T18" fmla="*/ 500 w 500"/>
                  <a:gd name="T19" fmla="*/ 315 h 383"/>
                  <a:gd name="T20" fmla="*/ 500 w 500"/>
                  <a:gd name="T21" fmla="*/ 0 h 383"/>
                  <a:gd name="T22" fmla="*/ 483 w 500"/>
                  <a:gd name="T23" fmla="*/ 0 h 383"/>
                  <a:gd name="T24" fmla="*/ 483 w 500"/>
                  <a:gd name="T25" fmla="*/ 315 h 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0" h="383">
                    <a:moveTo>
                      <a:pt x="483" y="315"/>
                    </a:moveTo>
                    <a:cubicBezTo>
                      <a:pt x="483" y="343"/>
                      <a:pt x="461" y="366"/>
                      <a:pt x="433" y="366"/>
                    </a:cubicBezTo>
                    <a:lnTo>
                      <a:pt x="67" y="366"/>
                    </a:lnTo>
                    <a:cubicBezTo>
                      <a:pt x="39" y="366"/>
                      <a:pt x="17" y="343"/>
                      <a:pt x="17" y="315"/>
                    </a:cubicBezTo>
                    <a:lnTo>
                      <a:pt x="17" y="200"/>
                    </a:lnTo>
                    <a:lnTo>
                      <a:pt x="0" y="200"/>
                    </a:lnTo>
                    <a:lnTo>
                      <a:pt x="0" y="315"/>
                    </a:lnTo>
                    <a:cubicBezTo>
                      <a:pt x="0" y="352"/>
                      <a:pt x="30" y="383"/>
                      <a:pt x="67" y="383"/>
                    </a:cubicBezTo>
                    <a:lnTo>
                      <a:pt x="433" y="383"/>
                    </a:lnTo>
                    <a:cubicBezTo>
                      <a:pt x="470" y="383"/>
                      <a:pt x="500" y="352"/>
                      <a:pt x="500" y="315"/>
                    </a:cubicBezTo>
                    <a:lnTo>
                      <a:pt x="500" y="0"/>
                    </a:lnTo>
                    <a:lnTo>
                      <a:pt x="483" y="0"/>
                    </a:lnTo>
                    <a:lnTo>
                      <a:pt x="483" y="3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7" name="Freeform 1038">
                <a:extLst>
                  <a:ext uri="{FF2B5EF4-FFF2-40B4-BE49-F238E27FC236}">
                    <a16:creationId xmlns:a16="http://schemas.microsoft.com/office/drawing/2014/main" id="{3458CD1C-F3D3-D087-8295-F28D7D9005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0988" y="2530475"/>
                <a:ext cx="373063" cy="274638"/>
              </a:xfrm>
              <a:custGeom>
                <a:avLst/>
                <a:gdLst>
                  <a:gd name="T0" fmla="*/ 500 w 500"/>
                  <a:gd name="T1" fmla="*/ 66 h 367"/>
                  <a:gd name="T2" fmla="*/ 433 w 500"/>
                  <a:gd name="T3" fmla="*/ 0 h 367"/>
                  <a:gd name="T4" fmla="*/ 67 w 500"/>
                  <a:gd name="T5" fmla="*/ 0 h 367"/>
                  <a:gd name="T6" fmla="*/ 0 w 500"/>
                  <a:gd name="T7" fmla="*/ 66 h 367"/>
                  <a:gd name="T8" fmla="*/ 0 w 500"/>
                  <a:gd name="T9" fmla="*/ 367 h 367"/>
                  <a:gd name="T10" fmla="*/ 17 w 500"/>
                  <a:gd name="T11" fmla="*/ 367 h 367"/>
                  <a:gd name="T12" fmla="*/ 17 w 500"/>
                  <a:gd name="T13" fmla="*/ 66 h 367"/>
                  <a:gd name="T14" fmla="*/ 67 w 500"/>
                  <a:gd name="T15" fmla="*/ 17 h 367"/>
                  <a:gd name="T16" fmla="*/ 433 w 500"/>
                  <a:gd name="T17" fmla="*/ 17 h 367"/>
                  <a:gd name="T18" fmla="*/ 483 w 500"/>
                  <a:gd name="T19" fmla="*/ 66 h 367"/>
                  <a:gd name="T20" fmla="*/ 483 w 500"/>
                  <a:gd name="T21" fmla="*/ 150 h 367"/>
                  <a:gd name="T22" fmla="*/ 500 w 500"/>
                  <a:gd name="T23" fmla="*/ 150 h 367"/>
                  <a:gd name="T24" fmla="*/ 500 w 500"/>
                  <a:gd name="T25" fmla="*/ 66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0" h="367">
                    <a:moveTo>
                      <a:pt x="500" y="66"/>
                    </a:moveTo>
                    <a:cubicBezTo>
                      <a:pt x="500" y="29"/>
                      <a:pt x="470" y="0"/>
                      <a:pt x="433" y="0"/>
                    </a:cubicBezTo>
                    <a:lnTo>
                      <a:pt x="67" y="0"/>
                    </a:lnTo>
                    <a:cubicBezTo>
                      <a:pt x="30" y="0"/>
                      <a:pt x="0" y="29"/>
                      <a:pt x="0" y="66"/>
                    </a:cubicBezTo>
                    <a:lnTo>
                      <a:pt x="0" y="367"/>
                    </a:lnTo>
                    <a:lnTo>
                      <a:pt x="17" y="367"/>
                    </a:lnTo>
                    <a:lnTo>
                      <a:pt x="17" y="66"/>
                    </a:lnTo>
                    <a:cubicBezTo>
                      <a:pt x="17" y="38"/>
                      <a:pt x="39" y="17"/>
                      <a:pt x="67" y="17"/>
                    </a:cubicBezTo>
                    <a:lnTo>
                      <a:pt x="433" y="17"/>
                    </a:lnTo>
                    <a:cubicBezTo>
                      <a:pt x="461" y="17"/>
                      <a:pt x="483" y="38"/>
                      <a:pt x="483" y="66"/>
                    </a:cubicBezTo>
                    <a:lnTo>
                      <a:pt x="483" y="150"/>
                    </a:lnTo>
                    <a:lnTo>
                      <a:pt x="500" y="150"/>
                    </a:lnTo>
                    <a:lnTo>
                      <a:pt x="500" y="6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8" name="Rectangle 1039">
                <a:extLst>
                  <a:ext uri="{FF2B5EF4-FFF2-40B4-BE49-F238E27FC236}">
                    <a16:creationId xmlns:a16="http://schemas.microsoft.com/office/drawing/2014/main" id="{AE7097A7-D587-6B3C-9681-E5D6E6C41E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73688" y="3089275"/>
                <a:ext cx="347663" cy="127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9" name="Rectangle 1040">
                <a:extLst>
                  <a:ext uri="{FF2B5EF4-FFF2-40B4-BE49-F238E27FC236}">
                    <a16:creationId xmlns:a16="http://schemas.microsoft.com/office/drawing/2014/main" id="{7EE62F68-C461-72E3-400F-E2335D1AB4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73688" y="2605088"/>
                <a:ext cx="347663" cy="127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6" name="Nom2 - 1">
              <a:extLst>
                <a:ext uri="{FF2B5EF4-FFF2-40B4-BE49-F238E27FC236}">
                  <a16:creationId xmlns:a16="http://schemas.microsoft.com/office/drawing/2014/main" id="{9D332C00-0E18-EAE4-F58E-EBA8E2C8BDA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980801" y="4410253"/>
              <a:ext cx="869986" cy="756000"/>
            </a:xfrm>
            <a:custGeom>
              <a:avLst/>
              <a:gdLst>
                <a:gd name="connsiteX0" fmla="*/ 1552073 w 6244389"/>
                <a:gd name="connsiteY0" fmla="*/ 0 h 5426243"/>
                <a:gd name="connsiteX1" fmla="*/ 4704347 w 6244389"/>
                <a:gd name="connsiteY1" fmla="*/ 12032 h 5426243"/>
                <a:gd name="connsiteX2" fmla="*/ 6244389 w 6244389"/>
                <a:gd name="connsiteY2" fmla="*/ 2755232 h 5426243"/>
                <a:gd name="connsiteX3" fmla="*/ 4704347 w 6244389"/>
                <a:gd name="connsiteY3" fmla="*/ 5414211 h 5426243"/>
                <a:gd name="connsiteX4" fmla="*/ 1564105 w 6244389"/>
                <a:gd name="connsiteY4" fmla="*/ 5426243 h 5426243"/>
                <a:gd name="connsiteX5" fmla="*/ 0 w 6244389"/>
                <a:gd name="connsiteY5" fmla="*/ 2731169 h 5426243"/>
                <a:gd name="connsiteX6" fmla="*/ 1552073 w 6244389"/>
                <a:gd name="connsiteY6" fmla="*/ 0 h 5426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44389" h="5426243">
                  <a:moveTo>
                    <a:pt x="1552073" y="0"/>
                  </a:moveTo>
                  <a:lnTo>
                    <a:pt x="4704347" y="12032"/>
                  </a:lnTo>
                  <a:lnTo>
                    <a:pt x="6244389" y="2755232"/>
                  </a:lnTo>
                  <a:lnTo>
                    <a:pt x="4704347" y="5414211"/>
                  </a:lnTo>
                  <a:lnTo>
                    <a:pt x="1564105" y="5426243"/>
                  </a:lnTo>
                  <a:lnTo>
                    <a:pt x="0" y="2731169"/>
                  </a:lnTo>
                  <a:lnTo>
                    <a:pt x="1552073" y="0"/>
                  </a:lnTo>
                  <a:close/>
                </a:path>
              </a:pathLst>
            </a:custGeom>
            <a:solidFill>
              <a:srgbClr val="003057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7" name="Clipboard7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A3508C0C-E858-3FDB-FEC1-FBE8218BC135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1685638" y="4554253"/>
              <a:ext cx="429832" cy="468000"/>
              <a:chOff x="7089783" y="311152"/>
              <a:chExt cx="750888" cy="817564"/>
            </a:xfrm>
            <a:solidFill>
              <a:schemeClr val="bg1"/>
            </a:solidFill>
          </p:grpSpPr>
          <p:sp>
            <p:nvSpPr>
              <p:cNvPr id="51" name="Rectangle 693">
                <a:extLst>
                  <a:ext uri="{FF2B5EF4-FFF2-40B4-BE49-F238E27FC236}">
                    <a16:creationId xmlns:a16="http://schemas.microsoft.com/office/drawing/2014/main" id="{F414D3D3-92B4-1508-2A05-51A28ADA10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12020" y="566740"/>
                <a:ext cx="52388" cy="52388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2" name="Rectangle 694">
                <a:extLst>
                  <a:ext uri="{FF2B5EF4-FFF2-40B4-BE49-F238E27FC236}">
                    <a16:creationId xmlns:a16="http://schemas.microsoft.com/office/drawing/2014/main" id="{BD803705-A634-30F8-EAD2-94655A9E52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04095" y="577853"/>
                <a:ext cx="223838" cy="3175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3" name="Rectangle 695">
                <a:extLst>
                  <a:ext uri="{FF2B5EF4-FFF2-40B4-BE49-F238E27FC236}">
                    <a16:creationId xmlns:a16="http://schemas.microsoft.com/office/drawing/2014/main" id="{FF959536-6CD3-6EF7-05AE-30C2951444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12020" y="696915"/>
                <a:ext cx="52388" cy="52388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4" name="Rectangle 696">
                <a:extLst>
                  <a:ext uri="{FF2B5EF4-FFF2-40B4-BE49-F238E27FC236}">
                    <a16:creationId xmlns:a16="http://schemas.microsoft.com/office/drawing/2014/main" id="{9CA005F6-A923-7B8A-92F6-FEE2F6D70C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04095" y="708028"/>
                <a:ext cx="223838" cy="3175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5" name="Rectangle 697">
                <a:extLst>
                  <a:ext uri="{FF2B5EF4-FFF2-40B4-BE49-F238E27FC236}">
                    <a16:creationId xmlns:a16="http://schemas.microsoft.com/office/drawing/2014/main" id="{94082FC4-06EE-0BFC-4EAF-3EF1B4A40F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12020" y="825503"/>
                <a:ext cx="52388" cy="52388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" name="Freeform 388">
                <a:extLst>
                  <a:ext uri="{FF2B5EF4-FFF2-40B4-BE49-F238E27FC236}">
                    <a16:creationId xmlns:a16="http://schemas.microsoft.com/office/drawing/2014/main" id="{4E26A9F2-C676-4719-6B92-44E29A97FD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04095" y="835028"/>
                <a:ext cx="223838" cy="31750"/>
              </a:xfrm>
              <a:custGeom>
                <a:avLst/>
                <a:gdLst>
                  <a:gd name="T0" fmla="*/ 0 w 315"/>
                  <a:gd name="T1" fmla="*/ 46 h 46"/>
                  <a:gd name="T2" fmla="*/ 277 w 315"/>
                  <a:gd name="T3" fmla="*/ 46 h 46"/>
                  <a:gd name="T4" fmla="*/ 315 w 315"/>
                  <a:gd name="T5" fmla="*/ 4 h 46"/>
                  <a:gd name="T6" fmla="*/ 315 w 315"/>
                  <a:gd name="T7" fmla="*/ 0 h 46"/>
                  <a:gd name="T8" fmla="*/ 0 w 315"/>
                  <a:gd name="T9" fmla="*/ 0 h 46"/>
                  <a:gd name="T10" fmla="*/ 0 w 315"/>
                  <a:gd name="T11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15" h="46">
                    <a:moveTo>
                      <a:pt x="0" y="46"/>
                    </a:moveTo>
                    <a:lnTo>
                      <a:pt x="277" y="46"/>
                    </a:lnTo>
                    <a:cubicBezTo>
                      <a:pt x="289" y="32"/>
                      <a:pt x="302" y="18"/>
                      <a:pt x="315" y="4"/>
                    </a:cubicBezTo>
                    <a:lnTo>
                      <a:pt x="315" y="0"/>
                    </a:lnTo>
                    <a:lnTo>
                      <a:pt x="0" y="0"/>
                    </a:lnTo>
                    <a:lnTo>
                      <a:pt x="0" y="4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7" name="Freeform 389">
                <a:extLst>
                  <a:ext uri="{FF2B5EF4-FFF2-40B4-BE49-F238E27FC236}">
                    <a16:creationId xmlns:a16="http://schemas.microsoft.com/office/drawing/2014/main" id="{96A7384C-CB53-581D-A664-60A634561E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89783" y="395290"/>
                <a:ext cx="330200" cy="608013"/>
              </a:xfrm>
              <a:custGeom>
                <a:avLst/>
                <a:gdLst>
                  <a:gd name="T0" fmla="*/ 53 w 465"/>
                  <a:gd name="T1" fmla="*/ 853 h 853"/>
                  <a:gd name="T2" fmla="*/ 426 w 465"/>
                  <a:gd name="T3" fmla="*/ 853 h 853"/>
                  <a:gd name="T4" fmla="*/ 465 w 465"/>
                  <a:gd name="T5" fmla="*/ 800 h 853"/>
                  <a:gd name="T6" fmla="*/ 53 w 465"/>
                  <a:gd name="T7" fmla="*/ 800 h 853"/>
                  <a:gd name="T8" fmla="*/ 53 w 465"/>
                  <a:gd name="T9" fmla="*/ 53 h 853"/>
                  <a:gd name="T10" fmla="*/ 83 w 465"/>
                  <a:gd name="T11" fmla="*/ 53 h 853"/>
                  <a:gd name="T12" fmla="*/ 83 w 465"/>
                  <a:gd name="T13" fmla="*/ 0 h 853"/>
                  <a:gd name="T14" fmla="*/ 53 w 465"/>
                  <a:gd name="T15" fmla="*/ 0 h 853"/>
                  <a:gd name="T16" fmla="*/ 0 w 465"/>
                  <a:gd name="T17" fmla="*/ 53 h 853"/>
                  <a:gd name="T18" fmla="*/ 0 w 465"/>
                  <a:gd name="T19" fmla="*/ 800 h 853"/>
                  <a:gd name="T20" fmla="*/ 53 w 465"/>
                  <a:gd name="T21" fmla="*/ 853 h 8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65" h="853">
                    <a:moveTo>
                      <a:pt x="53" y="853"/>
                    </a:moveTo>
                    <a:lnTo>
                      <a:pt x="426" y="853"/>
                    </a:lnTo>
                    <a:cubicBezTo>
                      <a:pt x="437" y="837"/>
                      <a:pt x="449" y="819"/>
                      <a:pt x="465" y="800"/>
                    </a:cubicBezTo>
                    <a:lnTo>
                      <a:pt x="53" y="800"/>
                    </a:lnTo>
                    <a:lnTo>
                      <a:pt x="53" y="53"/>
                    </a:lnTo>
                    <a:lnTo>
                      <a:pt x="83" y="53"/>
                    </a:lnTo>
                    <a:lnTo>
                      <a:pt x="83" y="0"/>
                    </a:lnTo>
                    <a:lnTo>
                      <a:pt x="53" y="0"/>
                    </a:lnTo>
                    <a:cubicBezTo>
                      <a:pt x="23" y="0"/>
                      <a:pt x="0" y="24"/>
                      <a:pt x="0" y="53"/>
                    </a:cubicBezTo>
                    <a:lnTo>
                      <a:pt x="0" y="800"/>
                    </a:lnTo>
                    <a:cubicBezTo>
                      <a:pt x="0" y="829"/>
                      <a:pt x="23" y="853"/>
                      <a:pt x="53" y="853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8" name="Freeform 390">
                <a:extLst>
                  <a:ext uri="{FF2B5EF4-FFF2-40B4-BE49-F238E27FC236}">
                    <a16:creationId xmlns:a16="http://schemas.microsoft.com/office/drawing/2014/main" id="{EDF3BEA0-D956-B839-4DE9-A166C5CB63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99371" y="395290"/>
                <a:ext cx="60325" cy="346075"/>
              </a:xfrm>
              <a:custGeom>
                <a:avLst/>
                <a:gdLst>
                  <a:gd name="T0" fmla="*/ 33 w 86"/>
                  <a:gd name="T1" fmla="*/ 486 h 486"/>
                  <a:gd name="T2" fmla="*/ 86 w 86"/>
                  <a:gd name="T3" fmla="*/ 437 h 486"/>
                  <a:gd name="T4" fmla="*/ 86 w 86"/>
                  <a:gd name="T5" fmla="*/ 53 h 486"/>
                  <a:gd name="T6" fmla="*/ 33 w 86"/>
                  <a:gd name="T7" fmla="*/ 0 h 486"/>
                  <a:gd name="T8" fmla="*/ 0 w 86"/>
                  <a:gd name="T9" fmla="*/ 0 h 486"/>
                  <a:gd name="T10" fmla="*/ 0 w 86"/>
                  <a:gd name="T11" fmla="*/ 53 h 486"/>
                  <a:gd name="T12" fmla="*/ 33 w 86"/>
                  <a:gd name="T13" fmla="*/ 53 h 486"/>
                  <a:gd name="T14" fmla="*/ 33 w 86"/>
                  <a:gd name="T15" fmla="*/ 486 h 4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6" h="486">
                    <a:moveTo>
                      <a:pt x="33" y="486"/>
                    </a:moveTo>
                    <a:cubicBezTo>
                      <a:pt x="50" y="469"/>
                      <a:pt x="68" y="453"/>
                      <a:pt x="86" y="437"/>
                    </a:cubicBezTo>
                    <a:lnTo>
                      <a:pt x="86" y="53"/>
                    </a:lnTo>
                    <a:cubicBezTo>
                      <a:pt x="86" y="24"/>
                      <a:pt x="62" y="0"/>
                      <a:pt x="33" y="0"/>
                    </a:cubicBezTo>
                    <a:lnTo>
                      <a:pt x="0" y="0"/>
                    </a:lnTo>
                    <a:lnTo>
                      <a:pt x="0" y="53"/>
                    </a:lnTo>
                    <a:lnTo>
                      <a:pt x="33" y="53"/>
                    </a:lnTo>
                    <a:lnTo>
                      <a:pt x="33" y="486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9" name="Freeform 391">
                <a:extLst>
                  <a:ext uri="{FF2B5EF4-FFF2-40B4-BE49-F238E27FC236}">
                    <a16:creationId xmlns:a16="http://schemas.microsoft.com/office/drawing/2014/main" id="{311DAEBA-E3F4-20CB-8955-AD1864582C9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75508" y="311152"/>
                <a:ext cx="398463" cy="173038"/>
              </a:xfrm>
              <a:custGeom>
                <a:avLst/>
                <a:gdLst>
                  <a:gd name="T0" fmla="*/ 280 w 560"/>
                  <a:gd name="T1" fmla="*/ 128 h 243"/>
                  <a:gd name="T2" fmla="*/ 241 w 560"/>
                  <a:gd name="T3" fmla="*/ 89 h 243"/>
                  <a:gd name="T4" fmla="*/ 280 w 560"/>
                  <a:gd name="T5" fmla="*/ 50 h 243"/>
                  <a:gd name="T6" fmla="*/ 319 w 560"/>
                  <a:gd name="T7" fmla="*/ 89 h 243"/>
                  <a:gd name="T8" fmla="*/ 280 w 560"/>
                  <a:gd name="T9" fmla="*/ 128 h 243"/>
                  <a:gd name="T10" fmla="*/ 560 w 560"/>
                  <a:gd name="T11" fmla="*/ 133 h 243"/>
                  <a:gd name="T12" fmla="*/ 533 w 560"/>
                  <a:gd name="T13" fmla="*/ 106 h 243"/>
                  <a:gd name="T14" fmla="*/ 408 w 560"/>
                  <a:gd name="T15" fmla="*/ 106 h 243"/>
                  <a:gd name="T16" fmla="*/ 366 w 560"/>
                  <a:gd name="T17" fmla="*/ 73 h 243"/>
                  <a:gd name="T18" fmla="*/ 280 w 560"/>
                  <a:gd name="T19" fmla="*/ 0 h 243"/>
                  <a:gd name="T20" fmla="*/ 193 w 560"/>
                  <a:gd name="T21" fmla="*/ 73 h 243"/>
                  <a:gd name="T22" fmla="*/ 151 w 560"/>
                  <a:gd name="T23" fmla="*/ 106 h 243"/>
                  <a:gd name="T24" fmla="*/ 27 w 560"/>
                  <a:gd name="T25" fmla="*/ 106 h 243"/>
                  <a:gd name="T26" fmla="*/ 0 w 560"/>
                  <a:gd name="T27" fmla="*/ 133 h 243"/>
                  <a:gd name="T28" fmla="*/ 0 w 560"/>
                  <a:gd name="T29" fmla="*/ 243 h 243"/>
                  <a:gd name="T30" fmla="*/ 560 w 560"/>
                  <a:gd name="T31" fmla="*/ 243 h 243"/>
                  <a:gd name="T32" fmla="*/ 560 w 560"/>
                  <a:gd name="T33" fmla="*/ 133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60" h="243">
                    <a:moveTo>
                      <a:pt x="280" y="128"/>
                    </a:moveTo>
                    <a:cubicBezTo>
                      <a:pt x="258" y="128"/>
                      <a:pt x="241" y="110"/>
                      <a:pt x="241" y="89"/>
                    </a:cubicBezTo>
                    <a:cubicBezTo>
                      <a:pt x="241" y="67"/>
                      <a:pt x="258" y="50"/>
                      <a:pt x="280" y="50"/>
                    </a:cubicBezTo>
                    <a:cubicBezTo>
                      <a:pt x="301" y="50"/>
                      <a:pt x="319" y="67"/>
                      <a:pt x="319" y="89"/>
                    </a:cubicBezTo>
                    <a:cubicBezTo>
                      <a:pt x="319" y="110"/>
                      <a:pt x="301" y="128"/>
                      <a:pt x="280" y="128"/>
                    </a:cubicBezTo>
                    <a:close/>
                    <a:moveTo>
                      <a:pt x="560" y="133"/>
                    </a:moveTo>
                    <a:cubicBezTo>
                      <a:pt x="560" y="120"/>
                      <a:pt x="550" y="106"/>
                      <a:pt x="533" y="106"/>
                    </a:cubicBezTo>
                    <a:lnTo>
                      <a:pt x="408" y="106"/>
                    </a:lnTo>
                    <a:cubicBezTo>
                      <a:pt x="408" y="106"/>
                      <a:pt x="374" y="107"/>
                      <a:pt x="366" y="73"/>
                    </a:cubicBezTo>
                    <a:cubicBezTo>
                      <a:pt x="359" y="32"/>
                      <a:pt x="323" y="0"/>
                      <a:pt x="280" y="0"/>
                    </a:cubicBezTo>
                    <a:cubicBezTo>
                      <a:pt x="236" y="0"/>
                      <a:pt x="201" y="32"/>
                      <a:pt x="193" y="73"/>
                    </a:cubicBezTo>
                    <a:cubicBezTo>
                      <a:pt x="185" y="107"/>
                      <a:pt x="151" y="106"/>
                      <a:pt x="151" y="106"/>
                    </a:cubicBezTo>
                    <a:lnTo>
                      <a:pt x="27" y="106"/>
                    </a:lnTo>
                    <a:cubicBezTo>
                      <a:pt x="7" y="106"/>
                      <a:pt x="0" y="124"/>
                      <a:pt x="0" y="133"/>
                    </a:cubicBezTo>
                    <a:lnTo>
                      <a:pt x="0" y="243"/>
                    </a:lnTo>
                    <a:lnTo>
                      <a:pt x="560" y="243"/>
                    </a:lnTo>
                    <a:lnTo>
                      <a:pt x="560" y="133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0" name="Freeform 392">
                <a:extLst>
                  <a:ext uri="{FF2B5EF4-FFF2-40B4-BE49-F238E27FC236}">
                    <a16:creationId xmlns:a16="http://schemas.microsoft.com/office/drawing/2014/main" id="{794173F1-0DB2-4420-0854-75527E28E3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81895" y="706440"/>
                <a:ext cx="325438" cy="320675"/>
              </a:xfrm>
              <a:custGeom>
                <a:avLst/>
                <a:gdLst>
                  <a:gd name="T0" fmla="*/ 0 w 456"/>
                  <a:gd name="T1" fmla="*/ 334 h 452"/>
                  <a:gd name="T2" fmla="*/ 118 w 456"/>
                  <a:gd name="T3" fmla="*/ 452 h 452"/>
                  <a:gd name="T4" fmla="*/ 449 w 456"/>
                  <a:gd name="T5" fmla="*/ 128 h 452"/>
                  <a:gd name="T6" fmla="*/ 444 w 456"/>
                  <a:gd name="T7" fmla="*/ 97 h 452"/>
                  <a:gd name="T8" fmla="*/ 354 w 456"/>
                  <a:gd name="T9" fmla="*/ 8 h 452"/>
                  <a:gd name="T10" fmla="*/ 337 w 456"/>
                  <a:gd name="T11" fmla="*/ 0 h 452"/>
                  <a:gd name="T12" fmla="*/ 319 w 456"/>
                  <a:gd name="T13" fmla="*/ 7 h 452"/>
                  <a:gd name="T14" fmla="*/ 0 w 456"/>
                  <a:gd name="T15" fmla="*/ 334 h 4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56" h="452">
                    <a:moveTo>
                      <a:pt x="0" y="334"/>
                    </a:moveTo>
                    <a:lnTo>
                      <a:pt x="118" y="452"/>
                    </a:lnTo>
                    <a:cubicBezTo>
                      <a:pt x="232" y="358"/>
                      <a:pt x="352" y="242"/>
                      <a:pt x="449" y="128"/>
                    </a:cubicBezTo>
                    <a:cubicBezTo>
                      <a:pt x="456" y="120"/>
                      <a:pt x="453" y="107"/>
                      <a:pt x="444" y="97"/>
                    </a:cubicBezTo>
                    <a:cubicBezTo>
                      <a:pt x="408" y="61"/>
                      <a:pt x="390" y="43"/>
                      <a:pt x="354" y="8"/>
                    </a:cubicBezTo>
                    <a:cubicBezTo>
                      <a:pt x="349" y="2"/>
                      <a:pt x="343" y="0"/>
                      <a:pt x="337" y="0"/>
                    </a:cubicBezTo>
                    <a:cubicBezTo>
                      <a:pt x="330" y="0"/>
                      <a:pt x="323" y="3"/>
                      <a:pt x="319" y="7"/>
                    </a:cubicBezTo>
                    <a:cubicBezTo>
                      <a:pt x="204" y="105"/>
                      <a:pt x="94" y="220"/>
                      <a:pt x="0" y="334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1" name="Freeform 393">
                <a:extLst>
                  <a:ext uri="{FF2B5EF4-FFF2-40B4-BE49-F238E27FC236}">
                    <a16:creationId xmlns:a16="http://schemas.microsoft.com/office/drawing/2014/main" id="{C6E3AB98-DC32-A245-05F5-83FA1185C5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75533" y="968378"/>
                <a:ext cx="166688" cy="160338"/>
              </a:xfrm>
              <a:custGeom>
                <a:avLst/>
                <a:gdLst>
                  <a:gd name="T0" fmla="*/ 24 w 233"/>
                  <a:gd name="T1" fmla="*/ 172 h 225"/>
                  <a:gd name="T2" fmla="*/ 12 w 233"/>
                  <a:gd name="T3" fmla="*/ 221 h 225"/>
                  <a:gd name="T4" fmla="*/ 23 w 233"/>
                  <a:gd name="T5" fmla="*/ 225 h 225"/>
                  <a:gd name="T6" fmla="*/ 61 w 233"/>
                  <a:gd name="T7" fmla="*/ 209 h 225"/>
                  <a:gd name="T8" fmla="*/ 233 w 233"/>
                  <a:gd name="T9" fmla="*/ 110 h 225"/>
                  <a:gd name="T10" fmla="*/ 123 w 233"/>
                  <a:gd name="T11" fmla="*/ 0 h 225"/>
                  <a:gd name="T12" fmla="*/ 24 w 233"/>
                  <a:gd name="T13" fmla="*/ 172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3" h="225">
                    <a:moveTo>
                      <a:pt x="24" y="172"/>
                    </a:moveTo>
                    <a:cubicBezTo>
                      <a:pt x="15" y="184"/>
                      <a:pt x="0" y="209"/>
                      <a:pt x="12" y="221"/>
                    </a:cubicBezTo>
                    <a:cubicBezTo>
                      <a:pt x="15" y="224"/>
                      <a:pt x="19" y="225"/>
                      <a:pt x="23" y="225"/>
                    </a:cubicBezTo>
                    <a:cubicBezTo>
                      <a:pt x="36" y="225"/>
                      <a:pt x="52" y="215"/>
                      <a:pt x="61" y="209"/>
                    </a:cubicBezTo>
                    <a:cubicBezTo>
                      <a:pt x="112" y="208"/>
                      <a:pt x="182" y="151"/>
                      <a:pt x="233" y="110"/>
                    </a:cubicBezTo>
                    <a:lnTo>
                      <a:pt x="123" y="0"/>
                    </a:lnTo>
                    <a:cubicBezTo>
                      <a:pt x="57" y="81"/>
                      <a:pt x="24" y="134"/>
                      <a:pt x="24" y="17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2" name="Freeform 394">
                <a:extLst>
                  <a:ext uri="{FF2B5EF4-FFF2-40B4-BE49-F238E27FC236}">
                    <a16:creationId xmlns:a16="http://schemas.microsoft.com/office/drawing/2014/main" id="{ABFCD502-AB57-EDED-4105-E0C8BE80BF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83508" y="817565"/>
                <a:ext cx="157163" cy="157163"/>
              </a:xfrm>
              <a:custGeom>
                <a:avLst/>
                <a:gdLst>
                  <a:gd name="T0" fmla="*/ 170 w 220"/>
                  <a:gd name="T1" fmla="*/ 14 h 221"/>
                  <a:gd name="T2" fmla="*/ 12 w 220"/>
                  <a:gd name="T3" fmla="*/ 172 h 221"/>
                  <a:gd name="T4" fmla="*/ 9 w 220"/>
                  <a:gd name="T5" fmla="*/ 209 h 221"/>
                  <a:gd name="T6" fmla="*/ 46 w 220"/>
                  <a:gd name="T7" fmla="*/ 212 h 221"/>
                  <a:gd name="T8" fmla="*/ 210 w 220"/>
                  <a:gd name="T9" fmla="*/ 48 h 221"/>
                  <a:gd name="T10" fmla="*/ 207 w 220"/>
                  <a:gd name="T11" fmla="*/ 11 h 221"/>
                  <a:gd name="T12" fmla="*/ 170 w 220"/>
                  <a:gd name="T13" fmla="*/ 14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0" h="221">
                    <a:moveTo>
                      <a:pt x="170" y="14"/>
                    </a:moveTo>
                    <a:cubicBezTo>
                      <a:pt x="122" y="71"/>
                      <a:pt x="69" y="124"/>
                      <a:pt x="12" y="172"/>
                    </a:cubicBezTo>
                    <a:cubicBezTo>
                      <a:pt x="2" y="180"/>
                      <a:pt x="0" y="197"/>
                      <a:pt x="9" y="209"/>
                    </a:cubicBezTo>
                    <a:cubicBezTo>
                      <a:pt x="17" y="221"/>
                      <a:pt x="36" y="221"/>
                      <a:pt x="46" y="212"/>
                    </a:cubicBezTo>
                    <a:cubicBezTo>
                      <a:pt x="106" y="162"/>
                      <a:pt x="160" y="107"/>
                      <a:pt x="210" y="48"/>
                    </a:cubicBezTo>
                    <a:cubicBezTo>
                      <a:pt x="220" y="37"/>
                      <a:pt x="219" y="20"/>
                      <a:pt x="207" y="11"/>
                    </a:cubicBezTo>
                    <a:cubicBezTo>
                      <a:pt x="194" y="0"/>
                      <a:pt x="178" y="4"/>
                      <a:pt x="170" y="14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3" name="Freeform 395">
                <a:extLst>
                  <a:ext uri="{FF2B5EF4-FFF2-40B4-BE49-F238E27FC236}">
                    <a16:creationId xmlns:a16="http://schemas.microsoft.com/office/drawing/2014/main" id="{F9D593A0-5F4B-0840-E4F8-66AD4A56F2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59708" y="679453"/>
                <a:ext cx="71438" cy="69850"/>
              </a:xfrm>
              <a:custGeom>
                <a:avLst/>
                <a:gdLst>
                  <a:gd name="T0" fmla="*/ 94 w 99"/>
                  <a:gd name="T1" fmla="*/ 82 h 99"/>
                  <a:gd name="T2" fmla="*/ 90 w 99"/>
                  <a:gd name="T3" fmla="*/ 59 h 99"/>
                  <a:gd name="T4" fmla="*/ 40 w 99"/>
                  <a:gd name="T5" fmla="*/ 9 h 99"/>
                  <a:gd name="T6" fmla="*/ 17 w 99"/>
                  <a:gd name="T7" fmla="*/ 5 h 99"/>
                  <a:gd name="T8" fmla="*/ 0 w 99"/>
                  <a:gd name="T9" fmla="*/ 22 h 99"/>
                  <a:gd name="T10" fmla="*/ 77 w 99"/>
                  <a:gd name="T11" fmla="*/ 99 h 99"/>
                  <a:gd name="T12" fmla="*/ 94 w 99"/>
                  <a:gd name="T13" fmla="*/ 82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9" h="99">
                    <a:moveTo>
                      <a:pt x="94" y="82"/>
                    </a:moveTo>
                    <a:cubicBezTo>
                      <a:pt x="99" y="77"/>
                      <a:pt x="97" y="66"/>
                      <a:pt x="90" y="59"/>
                    </a:cubicBezTo>
                    <a:lnTo>
                      <a:pt x="40" y="9"/>
                    </a:lnTo>
                    <a:cubicBezTo>
                      <a:pt x="33" y="2"/>
                      <a:pt x="22" y="0"/>
                      <a:pt x="17" y="5"/>
                    </a:cubicBezTo>
                    <a:lnTo>
                      <a:pt x="0" y="22"/>
                    </a:lnTo>
                    <a:lnTo>
                      <a:pt x="77" y="99"/>
                    </a:lnTo>
                    <a:lnTo>
                      <a:pt x="94" y="82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28" name="Copy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31C1AD5E-77A0-475F-198D-8A0422592082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 bwMode="auto">
            <a:xfrm>
              <a:off x="3879084" y="4537526"/>
              <a:ext cx="445663" cy="468000"/>
              <a:chOff x="27" y="8"/>
              <a:chExt cx="399" cy="419"/>
            </a:xfrm>
            <a:solidFill>
              <a:schemeClr val="bg1"/>
            </a:solidFill>
          </p:grpSpPr>
          <p:sp>
            <p:nvSpPr>
              <p:cNvPr id="49" name="Copy">
                <a:extLst>
                  <a:ext uri="{FF2B5EF4-FFF2-40B4-BE49-F238E27FC236}">
                    <a16:creationId xmlns:a16="http://schemas.microsoft.com/office/drawing/2014/main" id="{B3986BCB-E7F1-7AFA-D835-B5DF6BDBF739}"/>
                  </a:ext>
                </a:extLst>
              </p:cNvPr>
              <p:cNvSpPr>
                <a:spLocks noEditPoint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27" y="8"/>
                <a:ext cx="326" cy="346"/>
              </a:xfrm>
              <a:custGeom>
                <a:avLst/>
                <a:gdLst>
                  <a:gd name="T0" fmla="*/ 200 w 225"/>
                  <a:gd name="T1" fmla="*/ 25 h 238"/>
                  <a:gd name="T2" fmla="*/ 147 w 225"/>
                  <a:gd name="T3" fmla="*/ 25 h 238"/>
                  <a:gd name="T4" fmla="*/ 112 w 225"/>
                  <a:gd name="T5" fmla="*/ 0 h 238"/>
                  <a:gd name="T6" fmla="*/ 77 w 225"/>
                  <a:gd name="T7" fmla="*/ 25 h 238"/>
                  <a:gd name="T8" fmla="*/ 25 w 225"/>
                  <a:gd name="T9" fmla="*/ 25 h 238"/>
                  <a:gd name="T10" fmla="*/ 0 w 225"/>
                  <a:gd name="T11" fmla="*/ 50 h 238"/>
                  <a:gd name="T12" fmla="*/ 0 w 225"/>
                  <a:gd name="T13" fmla="*/ 213 h 238"/>
                  <a:gd name="T14" fmla="*/ 25 w 225"/>
                  <a:gd name="T15" fmla="*/ 238 h 238"/>
                  <a:gd name="T16" fmla="*/ 200 w 225"/>
                  <a:gd name="T17" fmla="*/ 238 h 238"/>
                  <a:gd name="T18" fmla="*/ 225 w 225"/>
                  <a:gd name="T19" fmla="*/ 213 h 238"/>
                  <a:gd name="T20" fmla="*/ 225 w 225"/>
                  <a:gd name="T21" fmla="*/ 50 h 238"/>
                  <a:gd name="T22" fmla="*/ 200 w 225"/>
                  <a:gd name="T23" fmla="*/ 25 h 238"/>
                  <a:gd name="T24" fmla="*/ 112 w 225"/>
                  <a:gd name="T25" fmla="*/ 25 h 238"/>
                  <a:gd name="T26" fmla="*/ 125 w 225"/>
                  <a:gd name="T27" fmla="*/ 38 h 238"/>
                  <a:gd name="T28" fmla="*/ 112 w 225"/>
                  <a:gd name="T29" fmla="*/ 50 h 238"/>
                  <a:gd name="T30" fmla="*/ 100 w 225"/>
                  <a:gd name="T31" fmla="*/ 38 h 238"/>
                  <a:gd name="T32" fmla="*/ 112 w 225"/>
                  <a:gd name="T33" fmla="*/ 25 h 238"/>
                  <a:gd name="T34" fmla="*/ 200 w 225"/>
                  <a:gd name="T35" fmla="*/ 213 h 238"/>
                  <a:gd name="T36" fmla="*/ 25 w 225"/>
                  <a:gd name="T37" fmla="*/ 213 h 238"/>
                  <a:gd name="T38" fmla="*/ 25 w 225"/>
                  <a:gd name="T39" fmla="*/ 50 h 238"/>
                  <a:gd name="T40" fmla="*/ 50 w 225"/>
                  <a:gd name="T41" fmla="*/ 50 h 238"/>
                  <a:gd name="T42" fmla="*/ 50 w 225"/>
                  <a:gd name="T43" fmla="*/ 75 h 238"/>
                  <a:gd name="T44" fmla="*/ 175 w 225"/>
                  <a:gd name="T45" fmla="*/ 75 h 238"/>
                  <a:gd name="T46" fmla="*/ 175 w 225"/>
                  <a:gd name="T47" fmla="*/ 50 h 238"/>
                  <a:gd name="T48" fmla="*/ 200 w 225"/>
                  <a:gd name="T49" fmla="*/ 50 h 238"/>
                  <a:gd name="T50" fmla="*/ 200 w 225"/>
                  <a:gd name="T51" fmla="*/ 213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25" h="238">
                    <a:moveTo>
                      <a:pt x="200" y="25"/>
                    </a:moveTo>
                    <a:lnTo>
                      <a:pt x="147" y="25"/>
                    </a:lnTo>
                    <a:cubicBezTo>
                      <a:pt x="142" y="10"/>
                      <a:pt x="128" y="0"/>
                      <a:pt x="112" y="0"/>
                    </a:cubicBezTo>
                    <a:cubicBezTo>
                      <a:pt x="96" y="0"/>
                      <a:pt x="82" y="10"/>
                      <a:pt x="77" y="25"/>
                    </a:cubicBezTo>
                    <a:lnTo>
                      <a:pt x="25" y="25"/>
                    </a:lnTo>
                    <a:cubicBezTo>
                      <a:pt x="11" y="25"/>
                      <a:pt x="0" y="36"/>
                      <a:pt x="0" y="50"/>
                    </a:cubicBezTo>
                    <a:lnTo>
                      <a:pt x="0" y="213"/>
                    </a:lnTo>
                    <a:cubicBezTo>
                      <a:pt x="0" y="226"/>
                      <a:pt x="11" y="238"/>
                      <a:pt x="25" y="238"/>
                    </a:cubicBezTo>
                    <a:lnTo>
                      <a:pt x="200" y="238"/>
                    </a:lnTo>
                    <a:cubicBezTo>
                      <a:pt x="213" y="238"/>
                      <a:pt x="225" y="226"/>
                      <a:pt x="225" y="213"/>
                    </a:cubicBezTo>
                    <a:lnTo>
                      <a:pt x="225" y="50"/>
                    </a:lnTo>
                    <a:cubicBezTo>
                      <a:pt x="225" y="36"/>
                      <a:pt x="213" y="25"/>
                      <a:pt x="200" y="25"/>
                    </a:cubicBezTo>
                    <a:close/>
                    <a:moveTo>
                      <a:pt x="112" y="25"/>
                    </a:moveTo>
                    <a:cubicBezTo>
                      <a:pt x="120" y="25"/>
                      <a:pt x="125" y="30"/>
                      <a:pt x="125" y="38"/>
                    </a:cubicBezTo>
                    <a:cubicBezTo>
                      <a:pt x="125" y="45"/>
                      <a:pt x="120" y="50"/>
                      <a:pt x="112" y="50"/>
                    </a:cubicBezTo>
                    <a:cubicBezTo>
                      <a:pt x="105" y="50"/>
                      <a:pt x="100" y="45"/>
                      <a:pt x="100" y="38"/>
                    </a:cubicBezTo>
                    <a:cubicBezTo>
                      <a:pt x="100" y="30"/>
                      <a:pt x="105" y="25"/>
                      <a:pt x="112" y="25"/>
                    </a:cubicBezTo>
                    <a:close/>
                    <a:moveTo>
                      <a:pt x="200" y="213"/>
                    </a:moveTo>
                    <a:lnTo>
                      <a:pt x="25" y="213"/>
                    </a:lnTo>
                    <a:lnTo>
                      <a:pt x="25" y="50"/>
                    </a:lnTo>
                    <a:lnTo>
                      <a:pt x="50" y="50"/>
                    </a:lnTo>
                    <a:lnTo>
                      <a:pt x="50" y="75"/>
                    </a:lnTo>
                    <a:lnTo>
                      <a:pt x="175" y="75"/>
                    </a:lnTo>
                    <a:lnTo>
                      <a:pt x="175" y="50"/>
                    </a:lnTo>
                    <a:lnTo>
                      <a:pt x="200" y="50"/>
                    </a:lnTo>
                    <a:lnTo>
                      <a:pt x="200" y="213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0" name="Copy">
                <a:extLst>
                  <a:ext uri="{FF2B5EF4-FFF2-40B4-BE49-F238E27FC236}">
                    <a16:creationId xmlns:a16="http://schemas.microsoft.com/office/drawing/2014/main" id="{92014E05-1D58-273F-7227-931BFCF1D433}"/>
                  </a:ext>
                </a:extLst>
              </p:cNvPr>
              <p:cNvSpPr>
                <a:spLocks noEditPoints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172" y="172"/>
                <a:ext cx="254" cy="255"/>
              </a:xfrm>
              <a:custGeom>
                <a:avLst/>
                <a:gdLst>
                  <a:gd name="T0" fmla="*/ 0 w 175"/>
                  <a:gd name="T1" fmla="*/ 50 h 175"/>
                  <a:gd name="T2" fmla="*/ 25 w 175"/>
                  <a:gd name="T3" fmla="*/ 50 h 175"/>
                  <a:gd name="T4" fmla="*/ 25 w 175"/>
                  <a:gd name="T5" fmla="*/ 75 h 175"/>
                  <a:gd name="T6" fmla="*/ 0 w 175"/>
                  <a:gd name="T7" fmla="*/ 75 h 175"/>
                  <a:gd name="T8" fmla="*/ 0 w 175"/>
                  <a:gd name="T9" fmla="*/ 50 h 175"/>
                  <a:gd name="T10" fmla="*/ 50 w 175"/>
                  <a:gd name="T11" fmla="*/ 175 h 175"/>
                  <a:gd name="T12" fmla="*/ 75 w 175"/>
                  <a:gd name="T13" fmla="*/ 175 h 175"/>
                  <a:gd name="T14" fmla="*/ 75 w 175"/>
                  <a:gd name="T15" fmla="*/ 150 h 175"/>
                  <a:gd name="T16" fmla="*/ 50 w 175"/>
                  <a:gd name="T17" fmla="*/ 150 h 175"/>
                  <a:gd name="T18" fmla="*/ 50 w 175"/>
                  <a:gd name="T19" fmla="*/ 175 h 175"/>
                  <a:gd name="T20" fmla="*/ 50 w 175"/>
                  <a:gd name="T21" fmla="*/ 25 h 175"/>
                  <a:gd name="T22" fmla="*/ 75 w 175"/>
                  <a:gd name="T23" fmla="*/ 25 h 175"/>
                  <a:gd name="T24" fmla="*/ 75 w 175"/>
                  <a:gd name="T25" fmla="*/ 0 h 175"/>
                  <a:gd name="T26" fmla="*/ 50 w 175"/>
                  <a:gd name="T27" fmla="*/ 0 h 175"/>
                  <a:gd name="T28" fmla="*/ 50 w 175"/>
                  <a:gd name="T29" fmla="*/ 25 h 175"/>
                  <a:gd name="T30" fmla="*/ 150 w 175"/>
                  <a:gd name="T31" fmla="*/ 0 h 175"/>
                  <a:gd name="T32" fmla="*/ 150 w 175"/>
                  <a:gd name="T33" fmla="*/ 25 h 175"/>
                  <a:gd name="T34" fmla="*/ 175 w 175"/>
                  <a:gd name="T35" fmla="*/ 25 h 175"/>
                  <a:gd name="T36" fmla="*/ 150 w 175"/>
                  <a:gd name="T37" fmla="*/ 0 h 175"/>
                  <a:gd name="T38" fmla="*/ 100 w 175"/>
                  <a:gd name="T39" fmla="*/ 175 h 175"/>
                  <a:gd name="T40" fmla="*/ 125 w 175"/>
                  <a:gd name="T41" fmla="*/ 175 h 175"/>
                  <a:gd name="T42" fmla="*/ 125 w 175"/>
                  <a:gd name="T43" fmla="*/ 150 h 175"/>
                  <a:gd name="T44" fmla="*/ 100 w 175"/>
                  <a:gd name="T45" fmla="*/ 150 h 175"/>
                  <a:gd name="T46" fmla="*/ 100 w 175"/>
                  <a:gd name="T47" fmla="*/ 175 h 175"/>
                  <a:gd name="T48" fmla="*/ 0 w 175"/>
                  <a:gd name="T49" fmla="*/ 125 h 175"/>
                  <a:gd name="T50" fmla="*/ 25 w 175"/>
                  <a:gd name="T51" fmla="*/ 125 h 175"/>
                  <a:gd name="T52" fmla="*/ 25 w 175"/>
                  <a:gd name="T53" fmla="*/ 100 h 175"/>
                  <a:gd name="T54" fmla="*/ 0 w 175"/>
                  <a:gd name="T55" fmla="*/ 100 h 175"/>
                  <a:gd name="T56" fmla="*/ 0 w 175"/>
                  <a:gd name="T57" fmla="*/ 125 h 175"/>
                  <a:gd name="T58" fmla="*/ 150 w 175"/>
                  <a:gd name="T59" fmla="*/ 75 h 175"/>
                  <a:gd name="T60" fmla="*/ 175 w 175"/>
                  <a:gd name="T61" fmla="*/ 75 h 175"/>
                  <a:gd name="T62" fmla="*/ 175 w 175"/>
                  <a:gd name="T63" fmla="*/ 50 h 175"/>
                  <a:gd name="T64" fmla="*/ 150 w 175"/>
                  <a:gd name="T65" fmla="*/ 50 h 175"/>
                  <a:gd name="T66" fmla="*/ 150 w 175"/>
                  <a:gd name="T67" fmla="*/ 75 h 175"/>
                  <a:gd name="T68" fmla="*/ 25 w 175"/>
                  <a:gd name="T69" fmla="*/ 175 h 175"/>
                  <a:gd name="T70" fmla="*/ 25 w 175"/>
                  <a:gd name="T71" fmla="*/ 150 h 175"/>
                  <a:gd name="T72" fmla="*/ 0 w 175"/>
                  <a:gd name="T73" fmla="*/ 150 h 175"/>
                  <a:gd name="T74" fmla="*/ 25 w 175"/>
                  <a:gd name="T75" fmla="*/ 175 h 175"/>
                  <a:gd name="T76" fmla="*/ 100 w 175"/>
                  <a:gd name="T77" fmla="*/ 25 h 175"/>
                  <a:gd name="T78" fmla="*/ 125 w 175"/>
                  <a:gd name="T79" fmla="*/ 25 h 175"/>
                  <a:gd name="T80" fmla="*/ 125 w 175"/>
                  <a:gd name="T81" fmla="*/ 0 h 175"/>
                  <a:gd name="T82" fmla="*/ 100 w 175"/>
                  <a:gd name="T83" fmla="*/ 0 h 175"/>
                  <a:gd name="T84" fmla="*/ 100 w 175"/>
                  <a:gd name="T85" fmla="*/ 25 h 175"/>
                  <a:gd name="T86" fmla="*/ 150 w 175"/>
                  <a:gd name="T87" fmla="*/ 175 h 175"/>
                  <a:gd name="T88" fmla="*/ 175 w 175"/>
                  <a:gd name="T89" fmla="*/ 150 h 175"/>
                  <a:gd name="T90" fmla="*/ 150 w 175"/>
                  <a:gd name="T91" fmla="*/ 150 h 175"/>
                  <a:gd name="T92" fmla="*/ 150 w 175"/>
                  <a:gd name="T93" fmla="*/ 175 h 175"/>
                  <a:gd name="T94" fmla="*/ 0 w 175"/>
                  <a:gd name="T95" fmla="*/ 25 h 175"/>
                  <a:gd name="T96" fmla="*/ 25 w 175"/>
                  <a:gd name="T97" fmla="*/ 25 h 175"/>
                  <a:gd name="T98" fmla="*/ 25 w 175"/>
                  <a:gd name="T99" fmla="*/ 0 h 175"/>
                  <a:gd name="T100" fmla="*/ 0 w 175"/>
                  <a:gd name="T101" fmla="*/ 25 h 175"/>
                  <a:gd name="T102" fmla="*/ 150 w 175"/>
                  <a:gd name="T103" fmla="*/ 125 h 175"/>
                  <a:gd name="T104" fmla="*/ 175 w 175"/>
                  <a:gd name="T105" fmla="*/ 125 h 175"/>
                  <a:gd name="T106" fmla="*/ 175 w 175"/>
                  <a:gd name="T107" fmla="*/ 100 h 175"/>
                  <a:gd name="T108" fmla="*/ 150 w 175"/>
                  <a:gd name="T109" fmla="*/ 100 h 175"/>
                  <a:gd name="T110" fmla="*/ 150 w 175"/>
                  <a:gd name="T111" fmla="*/ 125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75" h="175">
                    <a:moveTo>
                      <a:pt x="0" y="50"/>
                    </a:moveTo>
                    <a:lnTo>
                      <a:pt x="25" y="50"/>
                    </a:lnTo>
                    <a:lnTo>
                      <a:pt x="25" y="75"/>
                    </a:lnTo>
                    <a:lnTo>
                      <a:pt x="0" y="75"/>
                    </a:lnTo>
                    <a:lnTo>
                      <a:pt x="0" y="50"/>
                    </a:lnTo>
                    <a:close/>
                    <a:moveTo>
                      <a:pt x="50" y="175"/>
                    </a:moveTo>
                    <a:lnTo>
                      <a:pt x="75" y="175"/>
                    </a:lnTo>
                    <a:lnTo>
                      <a:pt x="75" y="150"/>
                    </a:lnTo>
                    <a:lnTo>
                      <a:pt x="50" y="150"/>
                    </a:lnTo>
                    <a:lnTo>
                      <a:pt x="50" y="175"/>
                    </a:lnTo>
                    <a:close/>
                    <a:moveTo>
                      <a:pt x="50" y="25"/>
                    </a:moveTo>
                    <a:lnTo>
                      <a:pt x="75" y="25"/>
                    </a:lnTo>
                    <a:lnTo>
                      <a:pt x="75" y="0"/>
                    </a:lnTo>
                    <a:lnTo>
                      <a:pt x="50" y="0"/>
                    </a:lnTo>
                    <a:lnTo>
                      <a:pt x="50" y="25"/>
                    </a:lnTo>
                    <a:close/>
                    <a:moveTo>
                      <a:pt x="150" y="0"/>
                    </a:moveTo>
                    <a:lnTo>
                      <a:pt x="150" y="25"/>
                    </a:lnTo>
                    <a:lnTo>
                      <a:pt x="175" y="25"/>
                    </a:lnTo>
                    <a:cubicBezTo>
                      <a:pt x="175" y="11"/>
                      <a:pt x="163" y="0"/>
                      <a:pt x="150" y="0"/>
                    </a:cubicBezTo>
                    <a:close/>
                    <a:moveTo>
                      <a:pt x="100" y="175"/>
                    </a:moveTo>
                    <a:lnTo>
                      <a:pt x="125" y="175"/>
                    </a:lnTo>
                    <a:lnTo>
                      <a:pt x="125" y="150"/>
                    </a:lnTo>
                    <a:lnTo>
                      <a:pt x="100" y="150"/>
                    </a:lnTo>
                    <a:lnTo>
                      <a:pt x="100" y="175"/>
                    </a:lnTo>
                    <a:close/>
                    <a:moveTo>
                      <a:pt x="0" y="125"/>
                    </a:moveTo>
                    <a:lnTo>
                      <a:pt x="25" y="125"/>
                    </a:lnTo>
                    <a:lnTo>
                      <a:pt x="25" y="100"/>
                    </a:lnTo>
                    <a:lnTo>
                      <a:pt x="0" y="100"/>
                    </a:lnTo>
                    <a:lnTo>
                      <a:pt x="0" y="125"/>
                    </a:lnTo>
                    <a:close/>
                    <a:moveTo>
                      <a:pt x="150" y="75"/>
                    </a:moveTo>
                    <a:lnTo>
                      <a:pt x="175" y="75"/>
                    </a:lnTo>
                    <a:lnTo>
                      <a:pt x="175" y="50"/>
                    </a:lnTo>
                    <a:lnTo>
                      <a:pt x="150" y="50"/>
                    </a:lnTo>
                    <a:lnTo>
                      <a:pt x="150" y="75"/>
                    </a:lnTo>
                    <a:close/>
                    <a:moveTo>
                      <a:pt x="25" y="175"/>
                    </a:moveTo>
                    <a:lnTo>
                      <a:pt x="25" y="150"/>
                    </a:lnTo>
                    <a:lnTo>
                      <a:pt x="0" y="150"/>
                    </a:lnTo>
                    <a:cubicBezTo>
                      <a:pt x="0" y="163"/>
                      <a:pt x="11" y="175"/>
                      <a:pt x="25" y="175"/>
                    </a:cubicBezTo>
                    <a:close/>
                    <a:moveTo>
                      <a:pt x="100" y="25"/>
                    </a:moveTo>
                    <a:lnTo>
                      <a:pt x="125" y="25"/>
                    </a:lnTo>
                    <a:lnTo>
                      <a:pt x="125" y="0"/>
                    </a:lnTo>
                    <a:lnTo>
                      <a:pt x="100" y="0"/>
                    </a:lnTo>
                    <a:lnTo>
                      <a:pt x="100" y="25"/>
                    </a:lnTo>
                    <a:close/>
                    <a:moveTo>
                      <a:pt x="150" y="175"/>
                    </a:moveTo>
                    <a:cubicBezTo>
                      <a:pt x="163" y="175"/>
                      <a:pt x="175" y="163"/>
                      <a:pt x="175" y="150"/>
                    </a:cubicBezTo>
                    <a:lnTo>
                      <a:pt x="150" y="150"/>
                    </a:lnTo>
                    <a:lnTo>
                      <a:pt x="150" y="175"/>
                    </a:lnTo>
                    <a:close/>
                    <a:moveTo>
                      <a:pt x="0" y="25"/>
                    </a:moveTo>
                    <a:lnTo>
                      <a:pt x="25" y="25"/>
                    </a:lnTo>
                    <a:lnTo>
                      <a:pt x="25" y="0"/>
                    </a:lnTo>
                    <a:cubicBezTo>
                      <a:pt x="11" y="0"/>
                      <a:pt x="0" y="11"/>
                      <a:pt x="0" y="25"/>
                    </a:cubicBezTo>
                    <a:close/>
                    <a:moveTo>
                      <a:pt x="150" y="125"/>
                    </a:moveTo>
                    <a:lnTo>
                      <a:pt x="175" y="125"/>
                    </a:lnTo>
                    <a:lnTo>
                      <a:pt x="175" y="100"/>
                    </a:lnTo>
                    <a:lnTo>
                      <a:pt x="150" y="100"/>
                    </a:lnTo>
                    <a:lnTo>
                      <a:pt x="150" y="125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29" name="Budget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B0B2E883-B9F7-9DAF-1631-10BB76F27733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>
            <a:xfrm>
              <a:off x="6011194" y="4552725"/>
              <a:ext cx="498405" cy="468000"/>
              <a:chOff x="6292850" y="2528888"/>
              <a:chExt cx="728663" cy="684212"/>
            </a:xfrm>
            <a:solidFill>
              <a:schemeClr val="bg1"/>
            </a:solidFill>
          </p:grpSpPr>
          <p:sp>
            <p:nvSpPr>
              <p:cNvPr id="42" name="Freeform 234">
                <a:extLst>
                  <a:ext uri="{FF2B5EF4-FFF2-40B4-BE49-F238E27FC236}">
                    <a16:creationId xmlns:a16="http://schemas.microsoft.com/office/drawing/2014/main" id="{FBDC541C-1846-DAC1-5CEE-64C5EABC6C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21463" y="2552700"/>
                <a:ext cx="215900" cy="174625"/>
              </a:xfrm>
              <a:custGeom>
                <a:avLst/>
                <a:gdLst>
                  <a:gd name="T0" fmla="*/ 140 w 285"/>
                  <a:gd name="T1" fmla="*/ 228 h 228"/>
                  <a:gd name="T2" fmla="*/ 285 w 285"/>
                  <a:gd name="T3" fmla="*/ 83 h 228"/>
                  <a:gd name="T4" fmla="*/ 47 w 285"/>
                  <a:gd name="T5" fmla="*/ 0 h 228"/>
                  <a:gd name="T6" fmla="*/ 0 w 285"/>
                  <a:gd name="T7" fmla="*/ 3 h 228"/>
                  <a:gd name="T8" fmla="*/ 49 w 285"/>
                  <a:gd name="T9" fmla="*/ 203 h 228"/>
                  <a:gd name="T10" fmla="*/ 140 w 285"/>
                  <a:gd name="T11" fmla="*/ 228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5" h="228">
                    <a:moveTo>
                      <a:pt x="140" y="228"/>
                    </a:moveTo>
                    <a:lnTo>
                      <a:pt x="285" y="83"/>
                    </a:lnTo>
                    <a:cubicBezTo>
                      <a:pt x="220" y="31"/>
                      <a:pt x="137" y="0"/>
                      <a:pt x="47" y="0"/>
                    </a:cubicBezTo>
                    <a:cubicBezTo>
                      <a:pt x="31" y="0"/>
                      <a:pt x="15" y="2"/>
                      <a:pt x="0" y="3"/>
                    </a:cubicBezTo>
                    <a:lnTo>
                      <a:pt x="49" y="203"/>
                    </a:lnTo>
                    <a:cubicBezTo>
                      <a:pt x="82" y="203"/>
                      <a:pt x="113" y="213"/>
                      <a:pt x="140" y="22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3" name="Freeform 235">
                <a:extLst>
                  <a:ext uri="{FF2B5EF4-FFF2-40B4-BE49-F238E27FC236}">
                    <a16:creationId xmlns:a16="http://schemas.microsoft.com/office/drawing/2014/main" id="{6BEB16FD-E5B1-4A58-35D2-B74C44FF1F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77038" y="2665413"/>
                <a:ext cx="173038" cy="363538"/>
              </a:xfrm>
              <a:custGeom>
                <a:avLst/>
                <a:gdLst>
                  <a:gd name="T0" fmla="*/ 0 w 228"/>
                  <a:gd name="T1" fmla="*/ 145 h 477"/>
                  <a:gd name="T2" fmla="*/ 26 w 228"/>
                  <a:gd name="T3" fmla="*/ 239 h 477"/>
                  <a:gd name="T4" fmla="*/ 0 w 228"/>
                  <a:gd name="T5" fmla="*/ 332 h 477"/>
                  <a:gd name="T6" fmla="*/ 145 w 228"/>
                  <a:gd name="T7" fmla="*/ 477 h 477"/>
                  <a:gd name="T8" fmla="*/ 228 w 228"/>
                  <a:gd name="T9" fmla="*/ 239 h 477"/>
                  <a:gd name="T10" fmla="*/ 145 w 228"/>
                  <a:gd name="T11" fmla="*/ 0 h 477"/>
                  <a:gd name="T12" fmla="*/ 0 w 228"/>
                  <a:gd name="T13" fmla="*/ 145 h 4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8" h="477">
                    <a:moveTo>
                      <a:pt x="0" y="145"/>
                    </a:moveTo>
                    <a:cubicBezTo>
                      <a:pt x="16" y="173"/>
                      <a:pt x="26" y="205"/>
                      <a:pt x="26" y="239"/>
                    </a:cubicBezTo>
                    <a:cubicBezTo>
                      <a:pt x="26" y="273"/>
                      <a:pt x="16" y="305"/>
                      <a:pt x="0" y="332"/>
                    </a:cubicBezTo>
                    <a:lnTo>
                      <a:pt x="145" y="477"/>
                    </a:lnTo>
                    <a:cubicBezTo>
                      <a:pt x="197" y="412"/>
                      <a:pt x="228" y="329"/>
                      <a:pt x="228" y="239"/>
                    </a:cubicBezTo>
                    <a:cubicBezTo>
                      <a:pt x="228" y="149"/>
                      <a:pt x="197" y="66"/>
                      <a:pt x="145" y="0"/>
                    </a:cubicBezTo>
                    <a:lnTo>
                      <a:pt x="0" y="14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4" name="Freeform 236">
                <a:extLst>
                  <a:ext uri="{FF2B5EF4-FFF2-40B4-BE49-F238E27FC236}">
                    <a16:creationId xmlns:a16="http://schemas.microsoft.com/office/drawing/2014/main" id="{CC7D2E74-8ED5-EF8C-5E17-48D020F1D4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7463" y="2571750"/>
                <a:ext cx="222250" cy="231775"/>
              </a:xfrm>
              <a:custGeom>
                <a:avLst/>
                <a:gdLst>
                  <a:gd name="T0" fmla="*/ 291 w 291"/>
                  <a:gd name="T1" fmla="*/ 200 h 303"/>
                  <a:gd name="T2" fmla="*/ 242 w 291"/>
                  <a:gd name="T3" fmla="*/ 0 h 303"/>
                  <a:gd name="T4" fmla="*/ 0 w 291"/>
                  <a:gd name="T5" fmla="*/ 287 h 303"/>
                  <a:gd name="T6" fmla="*/ 205 w 291"/>
                  <a:gd name="T7" fmla="*/ 303 h 303"/>
                  <a:gd name="T8" fmla="*/ 291 w 291"/>
                  <a:gd name="T9" fmla="*/ 200 h 3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1" h="303">
                    <a:moveTo>
                      <a:pt x="291" y="200"/>
                    </a:moveTo>
                    <a:lnTo>
                      <a:pt x="242" y="0"/>
                    </a:lnTo>
                    <a:cubicBezTo>
                      <a:pt x="119" y="47"/>
                      <a:pt x="25" y="155"/>
                      <a:pt x="0" y="287"/>
                    </a:cubicBezTo>
                    <a:lnTo>
                      <a:pt x="205" y="303"/>
                    </a:lnTo>
                    <a:cubicBezTo>
                      <a:pt x="220" y="258"/>
                      <a:pt x="251" y="222"/>
                      <a:pt x="291" y="20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5" name="Freeform 237">
                <a:extLst>
                  <a:ext uri="{FF2B5EF4-FFF2-40B4-BE49-F238E27FC236}">
                    <a16:creationId xmlns:a16="http://schemas.microsoft.com/office/drawing/2014/main" id="{144DE331-17B8-5228-9760-9507DDDF29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2700" y="2860675"/>
                <a:ext cx="474663" cy="280988"/>
              </a:xfrm>
              <a:custGeom>
                <a:avLst/>
                <a:gdLst>
                  <a:gd name="T0" fmla="*/ 386 w 624"/>
                  <a:gd name="T1" fmla="*/ 166 h 369"/>
                  <a:gd name="T2" fmla="*/ 205 w 624"/>
                  <a:gd name="T3" fmla="*/ 15 h 369"/>
                  <a:gd name="T4" fmla="*/ 0 w 624"/>
                  <a:gd name="T5" fmla="*/ 0 h 369"/>
                  <a:gd name="T6" fmla="*/ 386 w 624"/>
                  <a:gd name="T7" fmla="*/ 369 h 369"/>
                  <a:gd name="T8" fmla="*/ 624 w 624"/>
                  <a:gd name="T9" fmla="*/ 286 h 369"/>
                  <a:gd name="T10" fmla="*/ 479 w 624"/>
                  <a:gd name="T11" fmla="*/ 141 h 369"/>
                  <a:gd name="T12" fmla="*/ 386 w 624"/>
                  <a:gd name="T13" fmla="*/ 166 h 3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24" h="369">
                    <a:moveTo>
                      <a:pt x="386" y="166"/>
                    </a:moveTo>
                    <a:cubicBezTo>
                      <a:pt x="295" y="166"/>
                      <a:pt x="220" y="101"/>
                      <a:pt x="205" y="15"/>
                    </a:cubicBezTo>
                    <a:lnTo>
                      <a:pt x="0" y="0"/>
                    </a:lnTo>
                    <a:cubicBezTo>
                      <a:pt x="9" y="205"/>
                      <a:pt x="178" y="369"/>
                      <a:pt x="386" y="369"/>
                    </a:cubicBezTo>
                    <a:cubicBezTo>
                      <a:pt x="476" y="369"/>
                      <a:pt x="559" y="338"/>
                      <a:pt x="624" y="286"/>
                    </a:cubicBezTo>
                    <a:lnTo>
                      <a:pt x="479" y="141"/>
                    </a:lnTo>
                    <a:cubicBezTo>
                      <a:pt x="452" y="157"/>
                      <a:pt x="420" y="166"/>
                      <a:pt x="386" y="166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6" name="Freeform 238">
                <a:extLst>
                  <a:ext uri="{FF2B5EF4-FFF2-40B4-BE49-F238E27FC236}">
                    <a16:creationId xmlns:a16="http://schemas.microsoft.com/office/drawing/2014/main" id="{FEC80CE6-469C-F45C-B37F-435719A6FE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21488" y="2528888"/>
                <a:ext cx="200025" cy="427038"/>
              </a:xfrm>
              <a:custGeom>
                <a:avLst/>
                <a:gdLst>
                  <a:gd name="T0" fmla="*/ 17 w 263"/>
                  <a:gd name="T1" fmla="*/ 0 h 560"/>
                  <a:gd name="T2" fmla="*/ 0 w 263"/>
                  <a:gd name="T3" fmla="*/ 31 h 560"/>
                  <a:gd name="T4" fmla="*/ 227 w 263"/>
                  <a:gd name="T5" fmla="*/ 418 h 560"/>
                  <a:gd name="T6" fmla="*/ 207 w 263"/>
                  <a:gd name="T7" fmla="*/ 549 h 560"/>
                  <a:gd name="T8" fmla="*/ 241 w 263"/>
                  <a:gd name="T9" fmla="*/ 560 h 560"/>
                  <a:gd name="T10" fmla="*/ 263 w 263"/>
                  <a:gd name="T11" fmla="*/ 418 h 560"/>
                  <a:gd name="T12" fmla="*/ 17 w 263"/>
                  <a:gd name="T13" fmla="*/ 0 h 5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3" h="560">
                    <a:moveTo>
                      <a:pt x="17" y="0"/>
                    </a:moveTo>
                    <a:lnTo>
                      <a:pt x="0" y="31"/>
                    </a:lnTo>
                    <a:cubicBezTo>
                      <a:pt x="140" y="109"/>
                      <a:pt x="227" y="257"/>
                      <a:pt x="227" y="418"/>
                    </a:cubicBezTo>
                    <a:cubicBezTo>
                      <a:pt x="227" y="463"/>
                      <a:pt x="221" y="507"/>
                      <a:pt x="207" y="549"/>
                    </a:cubicBezTo>
                    <a:lnTo>
                      <a:pt x="241" y="560"/>
                    </a:lnTo>
                    <a:cubicBezTo>
                      <a:pt x="255" y="514"/>
                      <a:pt x="263" y="466"/>
                      <a:pt x="263" y="418"/>
                    </a:cubicBezTo>
                    <a:cubicBezTo>
                      <a:pt x="263" y="245"/>
                      <a:pt x="169" y="84"/>
                      <a:pt x="1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7" name="Freeform 239">
                <a:extLst>
                  <a:ext uri="{FF2B5EF4-FFF2-40B4-BE49-F238E27FC236}">
                    <a16:creationId xmlns:a16="http://schemas.microsoft.com/office/drawing/2014/main" id="{8FA9A033-27CF-2988-5857-65C32FD550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2850" y="2847975"/>
                <a:ext cx="363538" cy="365125"/>
              </a:xfrm>
              <a:custGeom>
                <a:avLst/>
                <a:gdLst>
                  <a:gd name="T0" fmla="*/ 35 w 478"/>
                  <a:gd name="T1" fmla="*/ 0 h 478"/>
                  <a:gd name="T2" fmla="*/ 0 w 478"/>
                  <a:gd name="T3" fmla="*/ 0 h 478"/>
                  <a:gd name="T4" fmla="*/ 478 w 478"/>
                  <a:gd name="T5" fmla="*/ 478 h 478"/>
                  <a:gd name="T6" fmla="*/ 478 w 478"/>
                  <a:gd name="T7" fmla="*/ 443 h 478"/>
                  <a:gd name="T8" fmla="*/ 35 w 478"/>
                  <a:gd name="T9" fmla="*/ 0 h 4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8" h="478">
                    <a:moveTo>
                      <a:pt x="35" y="0"/>
                    </a:moveTo>
                    <a:lnTo>
                      <a:pt x="0" y="0"/>
                    </a:lnTo>
                    <a:cubicBezTo>
                      <a:pt x="0" y="264"/>
                      <a:pt x="214" y="478"/>
                      <a:pt x="478" y="478"/>
                    </a:cubicBezTo>
                    <a:lnTo>
                      <a:pt x="478" y="443"/>
                    </a:lnTo>
                    <a:cubicBezTo>
                      <a:pt x="234" y="443"/>
                      <a:pt x="35" y="244"/>
                      <a:pt x="35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8" name="Freeform 240">
                <a:extLst>
                  <a:ext uri="{FF2B5EF4-FFF2-40B4-BE49-F238E27FC236}">
                    <a16:creationId xmlns:a16="http://schemas.microsoft.com/office/drawing/2014/main" id="{9B01802E-F334-BE6E-50D2-B509E4870E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02413" y="2749550"/>
                <a:ext cx="109538" cy="196850"/>
              </a:xfrm>
              <a:custGeom>
                <a:avLst/>
                <a:gdLst>
                  <a:gd name="T0" fmla="*/ 72 w 144"/>
                  <a:gd name="T1" fmla="*/ 58 h 259"/>
                  <a:gd name="T2" fmla="*/ 108 w 144"/>
                  <a:gd name="T3" fmla="*/ 85 h 259"/>
                  <a:gd name="T4" fmla="*/ 144 w 144"/>
                  <a:gd name="T5" fmla="*/ 85 h 259"/>
                  <a:gd name="T6" fmla="*/ 90 w 144"/>
                  <a:gd name="T7" fmla="*/ 24 h 259"/>
                  <a:gd name="T8" fmla="*/ 90 w 144"/>
                  <a:gd name="T9" fmla="*/ 0 h 259"/>
                  <a:gd name="T10" fmla="*/ 54 w 144"/>
                  <a:gd name="T11" fmla="*/ 0 h 259"/>
                  <a:gd name="T12" fmla="*/ 54 w 144"/>
                  <a:gd name="T13" fmla="*/ 24 h 259"/>
                  <a:gd name="T14" fmla="*/ 0 w 144"/>
                  <a:gd name="T15" fmla="*/ 85 h 259"/>
                  <a:gd name="T16" fmla="*/ 72 w 144"/>
                  <a:gd name="T17" fmla="*/ 148 h 259"/>
                  <a:gd name="T18" fmla="*/ 108 w 144"/>
                  <a:gd name="T19" fmla="*/ 175 h 259"/>
                  <a:gd name="T20" fmla="*/ 72 w 144"/>
                  <a:gd name="T21" fmla="*/ 201 h 259"/>
                  <a:gd name="T22" fmla="*/ 36 w 144"/>
                  <a:gd name="T23" fmla="*/ 175 h 259"/>
                  <a:gd name="T24" fmla="*/ 0 w 144"/>
                  <a:gd name="T25" fmla="*/ 175 h 259"/>
                  <a:gd name="T26" fmla="*/ 54 w 144"/>
                  <a:gd name="T27" fmla="*/ 235 h 259"/>
                  <a:gd name="T28" fmla="*/ 54 w 144"/>
                  <a:gd name="T29" fmla="*/ 259 h 259"/>
                  <a:gd name="T30" fmla="*/ 90 w 144"/>
                  <a:gd name="T31" fmla="*/ 259 h 259"/>
                  <a:gd name="T32" fmla="*/ 90 w 144"/>
                  <a:gd name="T33" fmla="*/ 235 h 259"/>
                  <a:gd name="T34" fmla="*/ 144 w 144"/>
                  <a:gd name="T35" fmla="*/ 175 h 259"/>
                  <a:gd name="T36" fmla="*/ 72 w 144"/>
                  <a:gd name="T37" fmla="*/ 112 h 259"/>
                  <a:gd name="T38" fmla="*/ 36 w 144"/>
                  <a:gd name="T39" fmla="*/ 85 h 259"/>
                  <a:gd name="T40" fmla="*/ 72 w 144"/>
                  <a:gd name="T41" fmla="*/ 58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44" h="259">
                    <a:moveTo>
                      <a:pt x="72" y="58"/>
                    </a:moveTo>
                    <a:cubicBezTo>
                      <a:pt x="91" y="58"/>
                      <a:pt x="108" y="70"/>
                      <a:pt x="108" y="85"/>
                    </a:cubicBezTo>
                    <a:lnTo>
                      <a:pt x="144" y="85"/>
                    </a:lnTo>
                    <a:cubicBezTo>
                      <a:pt x="144" y="56"/>
                      <a:pt x="121" y="31"/>
                      <a:pt x="90" y="24"/>
                    </a:cubicBezTo>
                    <a:lnTo>
                      <a:pt x="90" y="0"/>
                    </a:lnTo>
                    <a:lnTo>
                      <a:pt x="54" y="0"/>
                    </a:lnTo>
                    <a:lnTo>
                      <a:pt x="54" y="24"/>
                    </a:lnTo>
                    <a:cubicBezTo>
                      <a:pt x="23" y="31"/>
                      <a:pt x="0" y="56"/>
                      <a:pt x="0" y="85"/>
                    </a:cubicBezTo>
                    <a:cubicBezTo>
                      <a:pt x="0" y="116"/>
                      <a:pt x="23" y="148"/>
                      <a:pt x="72" y="148"/>
                    </a:cubicBezTo>
                    <a:cubicBezTo>
                      <a:pt x="94" y="148"/>
                      <a:pt x="108" y="158"/>
                      <a:pt x="108" y="175"/>
                    </a:cubicBezTo>
                    <a:cubicBezTo>
                      <a:pt x="108" y="189"/>
                      <a:pt x="91" y="201"/>
                      <a:pt x="72" y="201"/>
                    </a:cubicBezTo>
                    <a:cubicBezTo>
                      <a:pt x="53" y="201"/>
                      <a:pt x="36" y="189"/>
                      <a:pt x="36" y="175"/>
                    </a:cubicBezTo>
                    <a:lnTo>
                      <a:pt x="0" y="175"/>
                    </a:lnTo>
                    <a:cubicBezTo>
                      <a:pt x="0" y="204"/>
                      <a:pt x="23" y="228"/>
                      <a:pt x="54" y="235"/>
                    </a:cubicBezTo>
                    <a:lnTo>
                      <a:pt x="54" y="259"/>
                    </a:lnTo>
                    <a:lnTo>
                      <a:pt x="90" y="259"/>
                    </a:lnTo>
                    <a:lnTo>
                      <a:pt x="90" y="235"/>
                    </a:lnTo>
                    <a:cubicBezTo>
                      <a:pt x="121" y="228"/>
                      <a:pt x="144" y="204"/>
                      <a:pt x="144" y="175"/>
                    </a:cubicBezTo>
                    <a:cubicBezTo>
                      <a:pt x="144" y="138"/>
                      <a:pt x="114" y="112"/>
                      <a:pt x="72" y="112"/>
                    </a:cubicBezTo>
                    <a:cubicBezTo>
                      <a:pt x="49" y="112"/>
                      <a:pt x="36" y="102"/>
                      <a:pt x="36" y="85"/>
                    </a:cubicBezTo>
                    <a:cubicBezTo>
                      <a:pt x="36" y="70"/>
                      <a:pt x="53" y="58"/>
                      <a:pt x="72" y="58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30" name="Accounting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C3624D15-6FEC-1442-7F08-C7879A4D8AC8}"/>
                </a:ext>
              </a:extLst>
            </p:cNvPr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>
            <a:xfrm>
              <a:off x="8139290" y="4534635"/>
              <a:ext cx="553009" cy="468000"/>
              <a:chOff x="2687638" y="138112"/>
              <a:chExt cx="981075" cy="830263"/>
            </a:xfrm>
            <a:solidFill>
              <a:schemeClr val="bg1"/>
            </a:solidFill>
          </p:grpSpPr>
          <p:sp>
            <p:nvSpPr>
              <p:cNvPr id="32" name="Freeform 105">
                <a:extLst>
                  <a:ext uri="{FF2B5EF4-FFF2-40B4-BE49-F238E27FC236}">
                    <a16:creationId xmlns:a16="http://schemas.microsoft.com/office/drawing/2014/main" id="{1832CC20-B59B-21D7-E59B-73ACE5165E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0338" y="138112"/>
                <a:ext cx="968375" cy="514350"/>
              </a:xfrm>
              <a:custGeom>
                <a:avLst/>
                <a:gdLst>
                  <a:gd name="T0" fmla="*/ 1260 w 1272"/>
                  <a:gd name="T1" fmla="*/ 388 h 675"/>
                  <a:gd name="T2" fmla="*/ 595 w 1272"/>
                  <a:gd name="T3" fmla="*/ 4 h 675"/>
                  <a:gd name="T4" fmla="*/ 570 w 1272"/>
                  <a:gd name="T5" fmla="*/ 4 h 675"/>
                  <a:gd name="T6" fmla="*/ 13 w 1272"/>
                  <a:gd name="T7" fmla="*/ 328 h 675"/>
                  <a:gd name="T8" fmla="*/ 0 w 1272"/>
                  <a:gd name="T9" fmla="*/ 350 h 675"/>
                  <a:gd name="T10" fmla="*/ 13 w 1272"/>
                  <a:gd name="T11" fmla="*/ 371 h 675"/>
                  <a:gd name="T12" fmla="*/ 234 w 1272"/>
                  <a:gd name="T13" fmla="*/ 499 h 675"/>
                  <a:gd name="T14" fmla="*/ 284 w 1272"/>
                  <a:gd name="T15" fmla="*/ 470 h 675"/>
                  <a:gd name="T16" fmla="*/ 75 w 1272"/>
                  <a:gd name="T17" fmla="*/ 350 h 675"/>
                  <a:gd name="T18" fmla="*/ 583 w 1272"/>
                  <a:gd name="T19" fmla="*/ 55 h 675"/>
                  <a:gd name="T20" fmla="*/ 1197 w 1272"/>
                  <a:gd name="T21" fmla="*/ 409 h 675"/>
                  <a:gd name="T22" fmla="*/ 791 w 1272"/>
                  <a:gd name="T23" fmla="*/ 646 h 675"/>
                  <a:gd name="T24" fmla="*/ 841 w 1272"/>
                  <a:gd name="T25" fmla="*/ 675 h 675"/>
                  <a:gd name="T26" fmla="*/ 1260 w 1272"/>
                  <a:gd name="T27" fmla="*/ 431 h 675"/>
                  <a:gd name="T28" fmla="*/ 1272 w 1272"/>
                  <a:gd name="T29" fmla="*/ 409 h 675"/>
                  <a:gd name="T30" fmla="*/ 1260 w 1272"/>
                  <a:gd name="T31" fmla="*/ 388 h 6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272" h="675">
                    <a:moveTo>
                      <a:pt x="1260" y="388"/>
                    </a:moveTo>
                    <a:lnTo>
                      <a:pt x="595" y="4"/>
                    </a:lnTo>
                    <a:cubicBezTo>
                      <a:pt x="588" y="0"/>
                      <a:pt x="578" y="0"/>
                      <a:pt x="570" y="4"/>
                    </a:cubicBezTo>
                    <a:lnTo>
                      <a:pt x="13" y="328"/>
                    </a:lnTo>
                    <a:cubicBezTo>
                      <a:pt x="5" y="333"/>
                      <a:pt x="0" y="341"/>
                      <a:pt x="0" y="350"/>
                    </a:cubicBezTo>
                    <a:cubicBezTo>
                      <a:pt x="0" y="359"/>
                      <a:pt x="5" y="367"/>
                      <a:pt x="13" y="371"/>
                    </a:cubicBezTo>
                    <a:lnTo>
                      <a:pt x="234" y="499"/>
                    </a:lnTo>
                    <a:lnTo>
                      <a:pt x="284" y="470"/>
                    </a:lnTo>
                    <a:lnTo>
                      <a:pt x="75" y="350"/>
                    </a:lnTo>
                    <a:lnTo>
                      <a:pt x="583" y="55"/>
                    </a:lnTo>
                    <a:lnTo>
                      <a:pt x="1197" y="409"/>
                    </a:lnTo>
                    <a:lnTo>
                      <a:pt x="791" y="646"/>
                    </a:lnTo>
                    <a:lnTo>
                      <a:pt x="841" y="675"/>
                    </a:lnTo>
                    <a:lnTo>
                      <a:pt x="1260" y="431"/>
                    </a:lnTo>
                    <a:cubicBezTo>
                      <a:pt x="1268" y="427"/>
                      <a:pt x="1272" y="418"/>
                      <a:pt x="1272" y="409"/>
                    </a:cubicBezTo>
                    <a:cubicBezTo>
                      <a:pt x="1272" y="400"/>
                      <a:pt x="1267" y="392"/>
                      <a:pt x="1260" y="388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" name="Freeform 106">
                <a:extLst>
                  <a:ext uri="{FF2B5EF4-FFF2-40B4-BE49-F238E27FC236}">
                    <a16:creationId xmlns:a16="http://schemas.microsoft.com/office/drawing/2014/main" id="{BFB40FC0-1FEB-B44F-B20A-0466B16442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1651" y="296862"/>
                <a:ext cx="296863" cy="111125"/>
              </a:xfrm>
              <a:custGeom>
                <a:avLst/>
                <a:gdLst>
                  <a:gd name="T0" fmla="*/ 388 w 388"/>
                  <a:gd name="T1" fmla="*/ 45 h 146"/>
                  <a:gd name="T2" fmla="*/ 186 w 388"/>
                  <a:gd name="T3" fmla="*/ 0 h 146"/>
                  <a:gd name="T4" fmla="*/ 0 w 388"/>
                  <a:gd name="T5" fmla="*/ 37 h 146"/>
                  <a:gd name="T6" fmla="*/ 188 w 388"/>
                  <a:gd name="T7" fmla="*/ 146 h 146"/>
                  <a:gd name="T8" fmla="*/ 388 w 388"/>
                  <a:gd name="T9" fmla="*/ 45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8" h="146">
                    <a:moveTo>
                      <a:pt x="388" y="45"/>
                    </a:moveTo>
                    <a:cubicBezTo>
                      <a:pt x="333" y="16"/>
                      <a:pt x="262" y="0"/>
                      <a:pt x="186" y="0"/>
                    </a:cubicBezTo>
                    <a:cubicBezTo>
                      <a:pt x="118" y="0"/>
                      <a:pt x="52" y="13"/>
                      <a:pt x="0" y="37"/>
                    </a:cubicBezTo>
                    <a:lnTo>
                      <a:pt x="188" y="146"/>
                    </a:lnTo>
                    <a:lnTo>
                      <a:pt x="388" y="4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4" name="Freeform 107">
                <a:extLst>
                  <a:ext uri="{FF2B5EF4-FFF2-40B4-BE49-F238E27FC236}">
                    <a16:creationId xmlns:a16="http://schemas.microsoft.com/office/drawing/2014/main" id="{3941FDD7-93C8-9DA3-028E-9E7BFD73DB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9926" y="350837"/>
                <a:ext cx="204788" cy="196850"/>
              </a:xfrm>
              <a:custGeom>
                <a:avLst/>
                <a:gdLst>
                  <a:gd name="T0" fmla="*/ 81 w 267"/>
                  <a:gd name="T1" fmla="*/ 257 h 257"/>
                  <a:gd name="T2" fmla="*/ 163 w 267"/>
                  <a:gd name="T3" fmla="*/ 227 h 257"/>
                  <a:gd name="T4" fmla="*/ 264 w 267"/>
                  <a:gd name="T5" fmla="*/ 109 h 257"/>
                  <a:gd name="T6" fmla="*/ 209 w 267"/>
                  <a:gd name="T7" fmla="*/ 0 h 257"/>
                  <a:gd name="T8" fmla="*/ 0 w 267"/>
                  <a:gd name="T9" fmla="*/ 105 h 257"/>
                  <a:gd name="T10" fmla="*/ 81 w 267"/>
                  <a:gd name="T11" fmla="*/ 257 h 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7" h="257">
                    <a:moveTo>
                      <a:pt x="81" y="257"/>
                    </a:moveTo>
                    <a:cubicBezTo>
                      <a:pt x="111" y="250"/>
                      <a:pt x="138" y="240"/>
                      <a:pt x="163" y="227"/>
                    </a:cubicBezTo>
                    <a:cubicBezTo>
                      <a:pt x="223" y="197"/>
                      <a:pt x="259" y="155"/>
                      <a:pt x="264" y="109"/>
                    </a:cubicBezTo>
                    <a:cubicBezTo>
                      <a:pt x="267" y="70"/>
                      <a:pt x="248" y="32"/>
                      <a:pt x="209" y="0"/>
                    </a:cubicBezTo>
                    <a:lnTo>
                      <a:pt x="0" y="105"/>
                    </a:lnTo>
                    <a:lnTo>
                      <a:pt x="81" y="25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5" name="Freeform 108">
                <a:extLst>
                  <a:ext uri="{FF2B5EF4-FFF2-40B4-BE49-F238E27FC236}">
                    <a16:creationId xmlns:a16="http://schemas.microsoft.com/office/drawing/2014/main" id="{CBD47684-F3D4-E525-2685-C3B601770B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3226" y="344487"/>
                <a:ext cx="285750" cy="212725"/>
              </a:xfrm>
              <a:custGeom>
                <a:avLst/>
                <a:gdLst>
                  <a:gd name="T0" fmla="*/ 317 w 375"/>
                  <a:gd name="T1" fmla="*/ 279 h 279"/>
                  <a:gd name="T2" fmla="*/ 375 w 375"/>
                  <a:gd name="T3" fmla="*/ 275 h 279"/>
                  <a:gd name="T4" fmla="*/ 291 w 375"/>
                  <a:gd name="T5" fmla="*/ 118 h 279"/>
                  <a:gd name="T6" fmla="*/ 85 w 375"/>
                  <a:gd name="T7" fmla="*/ 0 h 279"/>
                  <a:gd name="T8" fmla="*/ 32 w 375"/>
                  <a:gd name="T9" fmla="*/ 159 h 279"/>
                  <a:gd name="T10" fmla="*/ 154 w 375"/>
                  <a:gd name="T11" fmla="*/ 155 h 279"/>
                  <a:gd name="T12" fmla="*/ 304 w 375"/>
                  <a:gd name="T13" fmla="*/ 277 h 279"/>
                  <a:gd name="T14" fmla="*/ 317 w 375"/>
                  <a:gd name="T15" fmla="*/ 279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75" h="279">
                    <a:moveTo>
                      <a:pt x="317" y="279"/>
                    </a:moveTo>
                    <a:cubicBezTo>
                      <a:pt x="336" y="279"/>
                      <a:pt x="356" y="278"/>
                      <a:pt x="375" y="275"/>
                    </a:cubicBezTo>
                    <a:lnTo>
                      <a:pt x="291" y="118"/>
                    </a:lnTo>
                    <a:lnTo>
                      <a:pt x="85" y="0"/>
                    </a:lnTo>
                    <a:cubicBezTo>
                      <a:pt x="21" y="44"/>
                      <a:pt x="0" y="101"/>
                      <a:pt x="32" y="159"/>
                    </a:cubicBezTo>
                    <a:cubicBezTo>
                      <a:pt x="72" y="133"/>
                      <a:pt x="119" y="133"/>
                      <a:pt x="154" y="155"/>
                    </a:cubicBezTo>
                    <a:lnTo>
                      <a:pt x="304" y="277"/>
                    </a:lnTo>
                    <a:cubicBezTo>
                      <a:pt x="304" y="277"/>
                      <a:pt x="307" y="279"/>
                      <a:pt x="317" y="279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" name="Freeform 109">
                <a:extLst>
                  <a:ext uri="{FF2B5EF4-FFF2-40B4-BE49-F238E27FC236}">
                    <a16:creationId xmlns:a16="http://schemas.microsoft.com/office/drawing/2014/main" id="{145F3C49-555E-527B-9502-AE8B9DB9EB4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87638" y="484187"/>
                <a:ext cx="684213" cy="484188"/>
              </a:xfrm>
              <a:custGeom>
                <a:avLst/>
                <a:gdLst>
                  <a:gd name="T0" fmla="*/ 848 w 898"/>
                  <a:gd name="T1" fmla="*/ 363 h 635"/>
                  <a:gd name="T2" fmla="*/ 472 w 898"/>
                  <a:gd name="T3" fmla="*/ 580 h 635"/>
                  <a:gd name="T4" fmla="*/ 466 w 898"/>
                  <a:gd name="T5" fmla="*/ 581 h 635"/>
                  <a:gd name="T6" fmla="*/ 459 w 898"/>
                  <a:gd name="T7" fmla="*/ 580 h 635"/>
                  <a:gd name="T8" fmla="*/ 178 w 898"/>
                  <a:gd name="T9" fmla="*/ 417 h 635"/>
                  <a:gd name="T10" fmla="*/ 50 w 898"/>
                  <a:gd name="T11" fmla="*/ 308 h 635"/>
                  <a:gd name="T12" fmla="*/ 50 w 898"/>
                  <a:gd name="T13" fmla="*/ 275 h 635"/>
                  <a:gd name="T14" fmla="*/ 426 w 898"/>
                  <a:gd name="T15" fmla="*/ 58 h 635"/>
                  <a:gd name="T16" fmla="*/ 433 w 898"/>
                  <a:gd name="T17" fmla="*/ 56 h 635"/>
                  <a:gd name="T18" fmla="*/ 438 w 898"/>
                  <a:gd name="T19" fmla="*/ 57 h 635"/>
                  <a:gd name="T20" fmla="*/ 579 w 898"/>
                  <a:gd name="T21" fmla="*/ 174 h 635"/>
                  <a:gd name="T22" fmla="*/ 848 w 898"/>
                  <a:gd name="T23" fmla="*/ 330 h 635"/>
                  <a:gd name="T24" fmla="*/ 848 w 898"/>
                  <a:gd name="T25" fmla="*/ 363 h 635"/>
                  <a:gd name="T26" fmla="*/ 497 w 898"/>
                  <a:gd name="T27" fmla="*/ 623 h 635"/>
                  <a:gd name="T28" fmla="*/ 873 w 898"/>
                  <a:gd name="T29" fmla="*/ 406 h 635"/>
                  <a:gd name="T30" fmla="*/ 898 w 898"/>
                  <a:gd name="T31" fmla="*/ 363 h 635"/>
                  <a:gd name="T32" fmla="*/ 898 w 898"/>
                  <a:gd name="T33" fmla="*/ 330 h 635"/>
                  <a:gd name="T34" fmla="*/ 873 w 898"/>
                  <a:gd name="T35" fmla="*/ 287 h 635"/>
                  <a:gd name="T36" fmla="*/ 608 w 898"/>
                  <a:gd name="T37" fmla="*/ 133 h 635"/>
                  <a:gd name="T38" fmla="*/ 470 w 898"/>
                  <a:gd name="T39" fmla="*/ 19 h 635"/>
                  <a:gd name="T40" fmla="*/ 401 w 898"/>
                  <a:gd name="T41" fmla="*/ 14 h 635"/>
                  <a:gd name="T42" fmla="*/ 25 w 898"/>
                  <a:gd name="T43" fmla="*/ 231 h 635"/>
                  <a:gd name="T44" fmla="*/ 0 w 898"/>
                  <a:gd name="T45" fmla="*/ 274 h 635"/>
                  <a:gd name="T46" fmla="*/ 0 w 898"/>
                  <a:gd name="T47" fmla="*/ 307 h 635"/>
                  <a:gd name="T48" fmla="*/ 18 w 898"/>
                  <a:gd name="T49" fmla="*/ 346 h 635"/>
                  <a:gd name="T50" fmla="*/ 146 w 898"/>
                  <a:gd name="T51" fmla="*/ 455 h 635"/>
                  <a:gd name="T52" fmla="*/ 153 w 898"/>
                  <a:gd name="T53" fmla="*/ 460 h 635"/>
                  <a:gd name="T54" fmla="*/ 434 w 898"/>
                  <a:gd name="T55" fmla="*/ 623 h 635"/>
                  <a:gd name="T56" fmla="*/ 497 w 898"/>
                  <a:gd name="T57" fmla="*/ 623 h 6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898" h="635">
                    <a:moveTo>
                      <a:pt x="848" y="363"/>
                    </a:moveTo>
                    <a:lnTo>
                      <a:pt x="472" y="580"/>
                    </a:lnTo>
                    <a:cubicBezTo>
                      <a:pt x="470" y="581"/>
                      <a:pt x="468" y="581"/>
                      <a:pt x="466" y="581"/>
                    </a:cubicBezTo>
                    <a:cubicBezTo>
                      <a:pt x="464" y="581"/>
                      <a:pt x="461" y="581"/>
                      <a:pt x="459" y="580"/>
                    </a:cubicBezTo>
                    <a:lnTo>
                      <a:pt x="178" y="417"/>
                    </a:lnTo>
                    <a:lnTo>
                      <a:pt x="50" y="308"/>
                    </a:lnTo>
                    <a:lnTo>
                      <a:pt x="50" y="275"/>
                    </a:lnTo>
                    <a:lnTo>
                      <a:pt x="426" y="58"/>
                    </a:lnTo>
                    <a:cubicBezTo>
                      <a:pt x="427" y="57"/>
                      <a:pt x="430" y="56"/>
                      <a:pt x="433" y="56"/>
                    </a:cubicBezTo>
                    <a:cubicBezTo>
                      <a:pt x="435" y="56"/>
                      <a:pt x="437" y="56"/>
                      <a:pt x="438" y="57"/>
                    </a:cubicBezTo>
                    <a:lnTo>
                      <a:pt x="579" y="174"/>
                    </a:lnTo>
                    <a:lnTo>
                      <a:pt x="848" y="330"/>
                    </a:lnTo>
                    <a:lnTo>
                      <a:pt x="848" y="363"/>
                    </a:lnTo>
                    <a:close/>
                    <a:moveTo>
                      <a:pt x="497" y="623"/>
                    </a:moveTo>
                    <a:lnTo>
                      <a:pt x="873" y="406"/>
                    </a:lnTo>
                    <a:cubicBezTo>
                      <a:pt x="889" y="397"/>
                      <a:pt x="898" y="380"/>
                      <a:pt x="898" y="363"/>
                    </a:cubicBezTo>
                    <a:lnTo>
                      <a:pt x="898" y="330"/>
                    </a:lnTo>
                    <a:cubicBezTo>
                      <a:pt x="898" y="312"/>
                      <a:pt x="888" y="296"/>
                      <a:pt x="873" y="287"/>
                    </a:cubicBezTo>
                    <a:lnTo>
                      <a:pt x="608" y="133"/>
                    </a:lnTo>
                    <a:lnTo>
                      <a:pt x="470" y="19"/>
                    </a:lnTo>
                    <a:cubicBezTo>
                      <a:pt x="453" y="5"/>
                      <a:pt x="431" y="0"/>
                      <a:pt x="401" y="14"/>
                    </a:cubicBezTo>
                    <a:lnTo>
                      <a:pt x="25" y="231"/>
                    </a:lnTo>
                    <a:cubicBezTo>
                      <a:pt x="10" y="240"/>
                      <a:pt x="0" y="257"/>
                      <a:pt x="0" y="274"/>
                    </a:cubicBezTo>
                    <a:lnTo>
                      <a:pt x="0" y="307"/>
                    </a:lnTo>
                    <a:cubicBezTo>
                      <a:pt x="0" y="322"/>
                      <a:pt x="7" y="336"/>
                      <a:pt x="18" y="346"/>
                    </a:cubicBezTo>
                    <a:lnTo>
                      <a:pt x="146" y="455"/>
                    </a:lnTo>
                    <a:cubicBezTo>
                      <a:pt x="148" y="457"/>
                      <a:pt x="151" y="458"/>
                      <a:pt x="153" y="460"/>
                    </a:cubicBezTo>
                    <a:lnTo>
                      <a:pt x="434" y="623"/>
                    </a:lnTo>
                    <a:cubicBezTo>
                      <a:pt x="456" y="635"/>
                      <a:pt x="477" y="635"/>
                      <a:pt x="497" y="623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" name="Freeform 110">
                <a:extLst>
                  <a:ext uri="{FF2B5EF4-FFF2-40B4-BE49-F238E27FC236}">
                    <a16:creationId xmlns:a16="http://schemas.microsoft.com/office/drawing/2014/main" id="{5BCE12F4-FAF2-FC92-4FB3-09A657829D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38488" y="717550"/>
                <a:ext cx="93663" cy="55563"/>
              </a:xfrm>
              <a:custGeom>
                <a:avLst/>
                <a:gdLst>
                  <a:gd name="T0" fmla="*/ 22 w 123"/>
                  <a:gd name="T1" fmla="*/ 59 h 72"/>
                  <a:gd name="T2" fmla="*/ 101 w 123"/>
                  <a:gd name="T3" fmla="*/ 59 h 72"/>
                  <a:gd name="T4" fmla="*/ 101 w 123"/>
                  <a:gd name="T5" fmla="*/ 13 h 72"/>
                  <a:gd name="T6" fmla="*/ 22 w 123"/>
                  <a:gd name="T7" fmla="*/ 13 h 72"/>
                  <a:gd name="T8" fmla="*/ 22 w 123"/>
                  <a:gd name="T9" fmla="*/ 5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3" h="72">
                    <a:moveTo>
                      <a:pt x="22" y="59"/>
                    </a:moveTo>
                    <a:cubicBezTo>
                      <a:pt x="44" y="72"/>
                      <a:pt x="79" y="72"/>
                      <a:pt x="101" y="59"/>
                    </a:cubicBezTo>
                    <a:cubicBezTo>
                      <a:pt x="123" y="46"/>
                      <a:pt x="123" y="26"/>
                      <a:pt x="101" y="13"/>
                    </a:cubicBezTo>
                    <a:cubicBezTo>
                      <a:pt x="80" y="0"/>
                      <a:pt x="44" y="0"/>
                      <a:pt x="22" y="13"/>
                    </a:cubicBezTo>
                    <a:cubicBezTo>
                      <a:pt x="0" y="26"/>
                      <a:pt x="0" y="46"/>
                      <a:pt x="22" y="59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" name="Freeform 111">
                <a:extLst>
                  <a:ext uri="{FF2B5EF4-FFF2-40B4-BE49-F238E27FC236}">
                    <a16:creationId xmlns:a16="http://schemas.microsoft.com/office/drawing/2014/main" id="{D792AC2F-092A-50C2-26F5-D41E61A8CB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6888" y="658812"/>
                <a:ext cx="93663" cy="53975"/>
              </a:xfrm>
              <a:custGeom>
                <a:avLst/>
                <a:gdLst>
                  <a:gd name="T0" fmla="*/ 101 w 123"/>
                  <a:gd name="T1" fmla="*/ 12 h 71"/>
                  <a:gd name="T2" fmla="*/ 22 w 123"/>
                  <a:gd name="T3" fmla="*/ 12 h 71"/>
                  <a:gd name="T4" fmla="*/ 21 w 123"/>
                  <a:gd name="T5" fmla="*/ 58 h 71"/>
                  <a:gd name="T6" fmla="*/ 101 w 123"/>
                  <a:gd name="T7" fmla="*/ 58 h 71"/>
                  <a:gd name="T8" fmla="*/ 101 w 123"/>
                  <a:gd name="T9" fmla="*/ 1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3" h="71">
                    <a:moveTo>
                      <a:pt x="101" y="12"/>
                    </a:moveTo>
                    <a:cubicBezTo>
                      <a:pt x="79" y="0"/>
                      <a:pt x="44" y="0"/>
                      <a:pt x="22" y="12"/>
                    </a:cubicBezTo>
                    <a:cubicBezTo>
                      <a:pt x="0" y="25"/>
                      <a:pt x="0" y="46"/>
                      <a:pt x="21" y="58"/>
                    </a:cubicBezTo>
                    <a:cubicBezTo>
                      <a:pt x="43" y="71"/>
                      <a:pt x="79" y="71"/>
                      <a:pt x="101" y="58"/>
                    </a:cubicBezTo>
                    <a:cubicBezTo>
                      <a:pt x="122" y="46"/>
                      <a:pt x="123" y="25"/>
                      <a:pt x="101" y="1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" name="Freeform 112">
                <a:extLst>
                  <a:ext uri="{FF2B5EF4-FFF2-40B4-BE49-F238E27FC236}">
                    <a16:creationId xmlns:a16="http://schemas.microsoft.com/office/drawing/2014/main" id="{C0C6BC27-C006-AE6F-E551-7835700A7D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4663" y="788987"/>
                <a:ext cx="95250" cy="53975"/>
              </a:xfrm>
              <a:custGeom>
                <a:avLst/>
                <a:gdLst>
                  <a:gd name="T0" fmla="*/ 101 w 123"/>
                  <a:gd name="T1" fmla="*/ 12 h 71"/>
                  <a:gd name="T2" fmla="*/ 22 w 123"/>
                  <a:gd name="T3" fmla="*/ 12 h 71"/>
                  <a:gd name="T4" fmla="*/ 22 w 123"/>
                  <a:gd name="T5" fmla="*/ 58 h 71"/>
                  <a:gd name="T6" fmla="*/ 101 w 123"/>
                  <a:gd name="T7" fmla="*/ 58 h 71"/>
                  <a:gd name="T8" fmla="*/ 101 w 123"/>
                  <a:gd name="T9" fmla="*/ 1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3" h="71">
                    <a:moveTo>
                      <a:pt x="101" y="12"/>
                    </a:moveTo>
                    <a:cubicBezTo>
                      <a:pt x="80" y="0"/>
                      <a:pt x="44" y="0"/>
                      <a:pt x="22" y="12"/>
                    </a:cubicBezTo>
                    <a:cubicBezTo>
                      <a:pt x="0" y="25"/>
                      <a:pt x="0" y="45"/>
                      <a:pt x="22" y="58"/>
                    </a:cubicBezTo>
                    <a:cubicBezTo>
                      <a:pt x="44" y="71"/>
                      <a:pt x="79" y="71"/>
                      <a:pt x="101" y="58"/>
                    </a:cubicBezTo>
                    <a:cubicBezTo>
                      <a:pt x="123" y="45"/>
                      <a:pt x="123" y="25"/>
                      <a:pt x="101" y="1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0" name="Freeform 113">
                <a:extLst>
                  <a:ext uri="{FF2B5EF4-FFF2-40B4-BE49-F238E27FC236}">
                    <a16:creationId xmlns:a16="http://schemas.microsoft.com/office/drawing/2014/main" id="{EBD9D296-583B-26A7-BFBA-D52722F203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4651" y="730250"/>
                <a:ext cx="92075" cy="53975"/>
              </a:xfrm>
              <a:custGeom>
                <a:avLst/>
                <a:gdLst>
                  <a:gd name="T0" fmla="*/ 101 w 122"/>
                  <a:gd name="T1" fmla="*/ 12 h 71"/>
                  <a:gd name="T2" fmla="*/ 22 w 122"/>
                  <a:gd name="T3" fmla="*/ 12 h 71"/>
                  <a:gd name="T4" fmla="*/ 21 w 122"/>
                  <a:gd name="T5" fmla="*/ 58 h 71"/>
                  <a:gd name="T6" fmla="*/ 100 w 122"/>
                  <a:gd name="T7" fmla="*/ 58 h 71"/>
                  <a:gd name="T8" fmla="*/ 101 w 122"/>
                  <a:gd name="T9" fmla="*/ 1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2" h="71">
                    <a:moveTo>
                      <a:pt x="101" y="12"/>
                    </a:moveTo>
                    <a:cubicBezTo>
                      <a:pt x="79" y="0"/>
                      <a:pt x="43" y="0"/>
                      <a:pt x="22" y="12"/>
                    </a:cubicBezTo>
                    <a:cubicBezTo>
                      <a:pt x="0" y="25"/>
                      <a:pt x="0" y="46"/>
                      <a:pt x="21" y="58"/>
                    </a:cubicBezTo>
                    <a:cubicBezTo>
                      <a:pt x="43" y="71"/>
                      <a:pt x="79" y="71"/>
                      <a:pt x="100" y="58"/>
                    </a:cubicBezTo>
                    <a:cubicBezTo>
                      <a:pt x="122" y="46"/>
                      <a:pt x="122" y="25"/>
                      <a:pt x="101" y="1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" name="Freeform 114">
                <a:extLst>
                  <a:ext uri="{FF2B5EF4-FFF2-40B4-BE49-F238E27FC236}">
                    <a16:creationId xmlns:a16="http://schemas.microsoft.com/office/drawing/2014/main" id="{CB284DEB-9FC5-2945-1416-616E621852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4001" y="568325"/>
                <a:ext cx="268288" cy="165100"/>
              </a:xfrm>
              <a:custGeom>
                <a:avLst/>
                <a:gdLst>
                  <a:gd name="T0" fmla="*/ 347 w 353"/>
                  <a:gd name="T1" fmla="*/ 48 h 216"/>
                  <a:gd name="T2" fmla="*/ 292 w 353"/>
                  <a:gd name="T3" fmla="*/ 3 h 216"/>
                  <a:gd name="T4" fmla="*/ 270 w 353"/>
                  <a:gd name="T5" fmla="*/ 3 h 216"/>
                  <a:gd name="T6" fmla="*/ 6 w 353"/>
                  <a:gd name="T7" fmla="*/ 156 h 216"/>
                  <a:gd name="T8" fmla="*/ 6 w 353"/>
                  <a:gd name="T9" fmla="*/ 168 h 216"/>
                  <a:gd name="T10" fmla="*/ 61 w 353"/>
                  <a:gd name="T11" fmla="*/ 213 h 216"/>
                  <a:gd name="T12" fmla="*/ 83 w 353"/>
                  <a:gd name="T13" fmla="*/ 213 h 216"/>
                  <a:gd name="T14" fmla="*/ 347 w 353"/>
                  <a:gd name="T15" fmla="*/ 60 h 216"/>
                  <a:gd name="T16" fmla="*/ 347 w 353"/>
                  <a:gd name="T17" fmla="*/ 48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53" h="216">
                    <a:moveTo>
                      <a:pt x="347" y="48"/>
                    </a:moveTo>
                    <a:lnTo>
                      <a:pt x="292" y="3"/>
                    </a:lnTo>
                    <a:cubicBezTo>
                      <a:pt x="286" y="0"/>
                      <a:pt x="276" y="0"/>
                      <a:pt x="270" y="3"/>
                    </a:cubicBezTo>
                    <a:lnTo>
                      <a:pt x="6" y="156"/>
                    </a:lnTo>
                    <a:cubicBezTo>
                      <a:pt x="0" y="159"/>
                      <a:pt x="2" y="164"/>
                      <a:pt x="6" y="168"/>
                    </a:cubicBezTo>
                    <a:lnTo>
                      <a:pt x="61" y="213"/>
                    </a:lnTo>
                    <a:cubicBezTo>
                      <a:pt x="67" y="216"/>
                      <a:pt x="77" y="216"/>
                      <a:pt x="83" y="213"/>
                    </a:cubicBezTo>
                    <a:lnTo>
                      <a:pt x="347" y="60"/>
                    </a:lnTo>
                    <a:cubicBezTo>
                      <a:pt x="353" y="57"/>
                      <a:pt x="352" y="51"/>
                      <a:pt x="347" y="48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31" name="Pen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7E1C86D0-ECBC-EB4B-F5C5-EB2C845469F2}"/>
                </a:ext>
              </a:extLst>
            </p:cNvPr>
            <p:cNvSpPr>
              <a:spLocks noChangeAspect="1" noEditPoints="1"/>
            </p:cNvSpPr>
            <p:nvPr>
              <p:custDataLst>
                <p:tags r:id="rId5"/>
              </p:custDataLst>
            </p:nvPr>
          </p:nvSpPr>
          <p:spPr bwMode="auto">
            <a:xfrm>
              <a:off x="10347940" y="4547378"/>
              <a:ext cx="448043" cy="446987"/>
            </a:xfrm>
            <a:custGeom>
              <a:avLst/>
              <a:gdLst>
                <a:gd name="T0" fmla="*/ 1108 w 1129"/>
                <a:gd name="T1" fmla="*/ 355 h 1123"/>
                <a:gd name="T2" fmla="*/ 775 w 1129"/>
                <a:gd name="T3" fmla="*/ 21 h 1123"/>
                <a:gd name="T4" fmla="*/ 719 w 1129"/>
                <a:gd name="T5" fmla="*/ 4 h 1123"/>
                <a:gd name="T6" fmla="*/ 565 w 1129"/>
                <a:gd name="T7" fmla="*/ 83 h 1123"/>
                <a:gd name="T8" fmla="*/ 495 w 1129"/>
                <a:gd name="T9" fmla="*/ 197 h 1123"/>
                <a:gd name="T10" fmla="*/ 283 w 1129"/>
                <a:gd name="T11" fmla="*/ 214 h 1123"/>
                <a:gd name="T12" fmla="*/ 266 w 1129"/>
                <a:gd name="T13" fmla="*/ 214 h 1123"/>
                <a:gd name="T14" fmla="*/ 218 w 1129"/>
                <a:gd name="T15" fmla="*/ 234 h 1123"/>
                <a:gd name="T16" fmla="*/ 202 w 1129"/>
                <a:gd name="T17" fmla="*/ 284 h 1123"/>
                <a:gd name="T18" fmla="*/ 16 w 1129"/>
                <a:gd name="T19" fmla="*/ 1027 h 1123"/>
                <a:gd name="T20" fmla="*/ 24 w 1129"/>
                <a:gd name="T21" fmla="*/ 1105 h 1123"/>
                <a:gd name="T22" fmla="*/ 68 w 1129"/>
                <a:gd name="T23" fmla="*/ 1123 h 1123"/>
                <a:gd name="T24" fmla="*/ 102 w 1129"/>
                <a:gd name="T25" fmla="*/ 1114 h 1123"/>
                <a:gd name="T26" fmla="*/ 743 w 1129"/>
                <a:gd name="T27" fmla="*/ 921 h 1123"/>
                <a:gd name="T28" fmla="*/ 845 w 1129"/>
                <a:gd name="T29" fmla="*/ 927 h 1123"/>
                <a:gd name="T30" fmla="*/ 895 w 1129"/>
                <a:gd name="T31" fmla="*/ 911 h 1123"/>
                <a:gd name="T32" fmla="*/ 915 w 1129"/>
                <a:gd name="T33" fmla="*/ 863 h 1123"/>
                <a:gd name="T34" fmla="*/ 932 w 1129"/>
                <a:gd name="T35" fmla="*/ 634 h 1123"/>
                <a:gd name="T36" fmla="*/ 1046 w 1129"/>
                <a:gd name="T37" fmla="*/ 564 h 1123"/>
                <a:gd name="T38" fmla="*/ 1125 w 1129"/>
                <a:gd name="T39" fmla="*/ 410 h 1123"/>
                <a:gd name="T40" fmla="*/ 1108 w 1129"/>
                <a:gd name="T41" fmla="*/ 355 h 1123"/>
                <a:gd name="T42" fmla="*/ 791 w 1129"/>
                <a:gd name="T43" fmla="*/ 797 h 1123"/>
                <a:gd name="T44" fmla="*/ 743 w 1129"/>
                <a:gd name="T45" fmla="*/ 796 h 1123"/>
                <a:gd name="T46" fmla="*/ 288 w 1129"/>
                <a:gd name="T47" fmla="*/ 886 h 1123"/>
                <a:gd name="T48" fmla="*/ 463 w 1129"/>
                <a:gd name="T49" fmla="*/ 711 h 1123"/>
                <a:gd name="T50" fmla="*/ 522 w 1129"/>
                <a:gd name="T51" fmla="*/ 727 h 1123"/>
                <a:gd name="T52" fmla="*/ 606 w 1129"/>
                <a:gd name="T53" fmla="*/ 692 h 1123"/>
                <a:gd name="T54" fmla="*/ 641 w 1129"/>
                <a:gd name="T55" fmla="*/ 608 h 1123"/>
                <a:gd name="T56" fmla="*/ 606 w 1129"/>
                <a:gd name="T57" fmla="*/ 524 h 1123"/>
                <a:gd name="T58" fmla="*/ 521 w 1129"/>
                <a:gd name="T59" fmla="*/ 489 h 1123"/>
                <a:gd name="T60" fmla="*/ 437 w 1129"/>
                <a:gd name="T61" fmla="*/ 523 h 1123"/>
                <a:gd name="T62" fmla="*/ 403 w 1129"/>
                <a:gd name="T63" fmla="*/ 608 h 1123"/>
                <a:gd name="T64" fmla="*/ 418 w 1129"/>
                <a:gd name="T65" fmla="*/ 667 h 1123"/>
                <a:gd name="T66" fmla="*/ 244 w 1129"/>
                <a:gd name="T67" fmla="*/ 842 h 1123"/>
                <a:gd name="T68" fmla="*/ 332 w 1129"/>
                <a:gd name="T69" fmla="*/ 338 h 1123"/>
                <a:gd name="T70" fmla="*/ 524 w 1129"/>
                <a:gd name="T71" fmla="*/ 319 h 1123"/>
                <a:gd name="T72" fmla="*/ 810 w 1129"/>
                <a:gd name="T73" fmla="*/ 605 h 1123"/>
                <a:gd name="T74" fmla="*/ 791 w 1129"/>
                <a:gd name="T75" fmla="*/ 797 h 1123"/>
                <a:gd name="T76" fmla="*/ 482 w 1129"/>
                <a:gd name="T77" fmla="*/ 647 h 1123"/>
                <a:gd name="T78" fmla="*/ 465 w 1129"/>
                <a:gd name="T79" fmla="*/ 607 h 1123"/>
                <a:gd name="T80" fmla="*/ 482 w 1129"/>
                <a:gd name="T81" fmla="*/ 568 h 1123"/>
                <a:gd name="T82" fmla="*/ 521 w 1129"/>
                <a:gd name="T83" fmla="*/ 551 h 1123"/>
                <a:gd name="T84" fmla="*/ 561 w 1129"/>
                <a:gd name="T85" fmla="*/ 568 h 1123"/>
                <a:gd name="T86" fmla="*/ 578 w 1129"/>
                <a:gd name="T87" fmla="*/ 608 h 1123"/>
                <a:gd name="T88" fmla="*/ 562 w 1129"/>
                <a:gd name="T89" fmla="*/ 648 h 1123"/>
                <a:gd name="T90" fmla="*/ 522 w 1129"/>
                <a:gd name="T91" fmla="*/ 664 h 1123"/>
                <a:gd name="T92" fmla="*/ 482 w 1129"/>
                <a:gd name="T93" fmla="*/ 647 h 1123"/>
                <a:gd name="T94" fmla="*/ 958 w 1129"/>
                <a:gd name="T95" fmla="*/ 475 h 1123"/>
                <a:gd name="T96" fmla="*/ 896 w 1129"/>
                <a:gd name="T97" fmla="*/ 514 h 1123"/>
                <a:gd name="T98" fmla="*/ 615 w 1129"/>
                <a:gd name="T99" fmla="*/ 233 h 1123"/>
                <a:gd name="T100" fmla="*/ 654 w 1129"/>
                <a:gd name="T101" fmla="*/ 171 h 1123"/>
                <a:gd name="T102" fmla="*/ 712 w 1129"/>
                <a:gd name="T103" fmla="*/ 136 h 1123"/>
                <a:gd name="T104" fmla="*/ 994 w 1129"/>
                <a:gd name="T105" fmla="*/ 417 h 1123"/>
                <a:gd name="T106" fmla="*/ 958 w 1129"/>
                <a:gd name="T107" fmla="*/ 475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29" h="1123">
                  <a:moveTo>
                    <a:pt x="1108" y="355"/>
                  </a:moveTo>
                  <a:lnTo>
                    <a:pt x="775" y="21"/>
                  </a:lnTo>
                  <a:cubicBezTo>
                    <a:pt x="760" y="6"/>
                    <a:pt x="739" y="0"/>
                    <a:pt x="719" y="4"/>
                  </a:cubicBezTo>
                  <a:cubicBezTo>
                    <a:pt x="710" y="5"/>
                    <a:pt x="626" y="22"/>
                    <a:pt x="565" y="83"/>
                  </a:cubicBezTo>
                  <a:cubicBezTo>
                    <a:pt x="529" y="119"/>
                    <a:pt x="507" y="165"/>
                    <a:pt x="495" y="197"/>
                  </a:cubicBezTo>
                  <a:cubicBezTo>
                    <a:pt x="410" y="212"/>
                    <a:pt x="321" y="214"/>
                    <a:pt x="283" y="214"/>
                  </a:cubicBezTo>
                  <a:cubicBezTo>
                    <a:pt x="272" y="214"/>
                    <a:pt x="266" y="214"/>
                    <a:pt x="266" y="214"/>
                  </a:cubicBezTo>
                  <a:cubicBezTo>
                    <a:pt x="247" y="213"/>
                    <a:pt x="230" y="221"/>
                    <a:pt x="218" y="234"/>
                  </a:cubicBezTo>
                  <a:cubicBezTo>
                    <a:pt x="206" y="248"/>
                    <a:pt x="200" y="266"/>
                    <a:pt x="202" y="284"/>
                  </a:cubicBezTo>
                  <a:cubicBezTo>
                    <a:pt x="248" y="658"/>
                    <a:pt x="18" y="1024"/>
                    <a:pt x="16" y="1027"/>
                  </a:cubicBezTo>
                  <a:cubicBezTo>
                    <a:pt x="0" y="1052"/>
                    <a:pt x="3" y="1084"/>
                    <a:pt x="24" y="1105"/>
                  </a:cubicBezTo>
                  <a:cubicBezTo>
                    <a:pt x="36" y="1117"/>
                    <a:pt x="52" y="1123"/>
                    <a:pt x="68" y="1123"/>
                  </a:cubicBezTo>
                  <a:cubicBezTo>
                    <a:pt x="80" y="1123"/>
                    <a:pt x="92" y="1120"/>
                    <a:pt x="102" y="1114"/>
                  </a:cubicBezTo>
                  <a:cubicBezTo>
                    <a:pt x="105" y="1112"/>
                    <a:pt x="408" y="921"/>
                    <a:pt x="743" y="921"/>
                  </a:cubicBezTo>
                  <a:cubicBezTo>
                    <a:pt x="778" y="921"/>
                    <a:pt x="812" y="923"/>
                    <a:pt x="845" y="927"/>
                  </a:cubicBezTo>
                  <a:cubicBezTo>
                    <a:pt x="863" y="929"/>
                    <a:pt x="881" y="924"/>
                    <a:pt x="895" y="911"/>
                  </a:cubicBezTo>
                  <a:cubicBezTo>
                    <a:pt x="908" y="899"/>
                    <a:pt x="916" y="882"/>
                    <a:pt x="915" y="863"/>
                  </a:cubicBezTo>
                  <a:cubicBezTo>
                    <a:pt x="915" y="862"/>
                    <a:pt x="913" y="744"/>
                    <a:pt x="932" y="634"/>
                  </a:cubicBezTo>
                  <a:cubicBezTo>
                    <a:pt x="965" y="622"/>
                    <a:pt x="1010" y="600"/>
                    <a:pt x="1046" y="564"/>
                  </a:cubicBezTo>
                  <a:cubicBezTo>
                    <a:pt x="1107" y="503"/>
                    <a:pt x="1124" y="419"/>
                    <a:pt x="1125" y="410"/>
                  </a:cubicBezTo>
                  <a:cubicBezTo>
                    <a:pt x="1129" y="390"/>
                    <a:pt x="1123" y="369"/>
                    <a:pt x="1108" y="355"/>
                  </a:cubicBezTo>
                  <a:close/>
                  <a:moveTo>
                    <a:pt x="791" y="797"/>
                  </a:moveTo>
                  <a:cubicBezTo>
                    <a:pt x="775" y="796"/>
                    <a:pt x="759" y="796"/>
                    <a:pt x="743" y="796"/>
                  </a:cubicBezTo>
                  <a:cubicBezTo>
                    <a:pt x="572" y="796"/>
                    <a:pt x="412" y="839"/>
                    <a:pt x="288" y="886"/>
                  </a:cubicBezTo>
                  <a:lnTo>
                    <a:pt x="463" y="711"/>
                  </a:lnTo>
                  <a:cubicBezTo>
                    <a:pt x="480" y="721"/>
                    <a:pt x="501" y="727"/>
                    <a:pt x="522" y="727"/>
                  </a:cubicBezTo>
                  <a:cubicBezTo>
                    <a:pt x="554" y="727"/>
                    <a:pt x="583" y="714"/>
                    <a:pt x="606" y="692"/>
                  </a:cubicBezTo>
                  <a:cubicBezTo>
                    <a:pt x="628" y="669"/>
                    <a:pt x="641" y="640"/>
                    <a:pt x="641" y="608"/>
                  </a:cubicBezTo>
                  <a:cubicBezTo>
                    <a:pt x="640" y="576"/>
                    <a:pt x="628" y="546"/>
                    <a:pt x="606" y="524"/>
                  </a:cubicBezTo>
                  <a:cubicBezTo>
                    <a:pt x="583" y="501"/>
                    <a:pt x="553" y="489"/>
                    <a:pt x="521" y="489"/>
                  </a:cubicBezTo>
                  <a:cubicBezTo>
                    <a:pt x="490" y="489"/>
                    <a:pt x="460" y="501"/>
                    <a:pt x="437" y="523"/>
                  </a:cubicBezTo>
                  <a:cubicBezTo>
                    <a:pt x="415" y="546"/>
                    <a:pt x="402" y="576"/>
                    <a:pt x="403" y="608"/>
                  </a:cubicBezTo>
                  <a:cubicBezTo>
                    <a:pt x="403" y="629"/>
                    <a:pt x="408" y="649"/>
                    <a:pt x="418" y="667"/>
                  </a:cubicBezTo>
                  <a:lnTo>
                    <a:pt x="244" y="842"/>
                  </a:lnTo>
                  <a:cubicBezTo>
                    <a:pt x="295" y="705"/>
                    <a:pt x="341" y="527"/>
                    <a:pt x="332" y="338"/>
                  </a:cubicBezTo>
                  <a:cubicBezTo>
                    <a:pt x="383" y="337"/>
                    <a:pt x="455" y="332"/>
                    <a:pt x="524" y="319"/>
                  </a:cubicBezTo>
                  <a:lnTo>
                    <a:pt x="810" y="605"/>
                  </a:lnTo>
                  <a:cubicBezTo>
                    <a:pt x="797" y="675"/>
                    <a:pt x="793" y="746"/>
                    <a:pt x="791" y="797"/>
                  </a:cubicBezTo>
                  <a:close/>
                  <a:moveTo>
                    <a:pt x="482" y="647"/>
                  </a:moveTo>
                  <a:cubicBezTo>
                    <a:pt x="471" y="637"/>
                    <a:pt x="465" y="623"/>
                    <a:pt x="465" y="607"/>
                  </a:cubicBezTo>
                  <a:cubicBezTo>
                    <a:pt x="465" y="592"/>
                    <a:pt x="471" y="578"/>
                    <a:pt x="482" y="568"/>
                  </a:cubicBezTo>
                  <a:cubicBezTo>
                    <a:pt x="492" y="557"/>
                    <a:pt x="506" y="551"/>
                    <a:pt x="521" y="551"/>
                  </a:cubicBezTo>
                  <a:cubicBezTo>
                    <a:pt x="536" y="551"/>
                    <a:pt x="551" y="557"/>
                    <a:pt x="561" y="568"/>
                  </a:cubicBezTo>
                  <a:cubicBezTo>
                    <a:pt x="572" y="579"/>
                    <a:pt x="578" y="593"/>
                    <a:pt x="578" y="608"/>
                  </a:cubicBezTo>
                  <a:cubicBezTo>
                    <a:pt x="578" y="623"/>
                    <a:pt x="572" y="637"/>
                    <a:pt x="562" y="648"/>
                  </a:cubicBezTo>
                  <a:cubicBezTo>
                    <a:pt x="551" y="658"/>
                    <a:pt x="537" y="664"/>
                    <a:pt x="522" y="664"/>
                  </a:cubicBezTo>
                  <a:cubicBezTo>
                    <a:pt x="507" y="664"/>
                    <a:pt x="492" y="658"/>
                    <a:pt x="482" y="647"/>
                  </a:cubicBezTo>
                  <a:close/>
                  <a:moveTo>
                    <a:pt x="958" y="475"/>
                  </a:moveTo>
                  <a:cubicBezTo>
                    <a:pt x="941" y="493"/>
                    <a:pt x="916" y="505"/>
                    <a:pt x="896" y="514"/>
                  </a:cubicBezTo>
                  <a:lnTo>
                    <a:pt x="615" y="233"/>
                  </a:lnTo>
                  <a:cubicBezTo>
                    <a:pt x="624" y="213"/>
                    <a:pt x="637" y="189"/>
                    <a:pt x="654" y="171"/>
                  </a:cubicBezTo>
                  <a:cubicBezTo>
                    <a:pt x="671" y="154"/>
                    <a:pt x="694" y="142"/>
                    <a:pt x="712" y="136"/>
                  </a:cubicBezTo>
                  <a:lnTo>
                    <a:pt x="994" y="417"/>
                  </a:lnTo>
                  <a:cubicBezTo>
                    <a:pt x="987" y="435"/>
                    <a:pt x="975" y="458"/>
                    <a:pt x="958" y="475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0" name="Titolo 1">
            <a:extLst>
              <a:ext uri="{FF2B5EF4-FFF2-40B4-BE49-F238E27FC236}">
                <a16:creationId xmlns:a16="http://schemas.microsoft.com/office/drawing/2014/main" id="{D48AE26C-1DC2-BD41-AE92-54AB8BA5E0BA}"/>
              </a:ext>
            </a:extLst>
          </p:cNvPr>
          <p:cNvSpPr txBox="1">
            <a:spLocks/>
          </p:cNvSpPr>
          <p:nvPr/>
        </p:nvSpPr>
        <p:spPr>
          <a:xfrm>
            <a:off x="355885" y="364854"/>
            <a:ext cx="11513962" cy="5810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it-IT" sz="3000" b="1" dirty="0">
                <a:solidFill>
                  <a:srgbClr val="0030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dall’esigenza di contrastare il fenomeno delle frodi</a:t>
            </a:r>
          </a:p>
        </p:txBody>
      </p:sp>
    </p:spTree>
    <p:extLst>
      <p:ext uri="{BB962C8B-B14F-4D97-AF65-F5344CB8AC3E}">
        <p14:creationId xmlns:p14="http://schemas.microsoft.com/office/powerpoint/2010/main" val="16642938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" name="Gruppo 80">
            <a:extLst>
              <a:ext uri="{FF2B5EF4-FFF2-40B4-BE49-F238E27FC236}">
                <a16:creationId xmlns:a16="http://schemas.microsoft.com/office/drawing/2014/main" id="{4DB9B640-A280-86A6-3DB7-ACC619EB23C4}"/>
              </a:ext>
            </a:extLst>
          </p:cNvPr>
          <p:cNvGrpSpPr/>
          <p:nvPr/>
        </p:nvGrpSpPr>
        <p:grpSpPr>
          <a:xfrm>
            <a:off x="208337" y="1557998"/>
            <a:ext cx="11775326" cy="1161073"/>
            <a:chOff x="193599" y="1121494"/>
            <a:chExt cx="11775326" cy="2385962"/>
          </a:xfrm>
        </p:grpSpPr>
        <p:sp>
          <p:nvSpPr>
            <p:cNvPr id="82" name="Google Shape;389;p22">
              <a:extLst>
                <a:ext uri="{FF2B5EF4-FFF2-40B4-BE49-F238E27FC236}">
                  <a16:creationId xmlns:a16="http://schemas.microsoft.com/office/drawing/2014/main" id="{94414CC9-6D6B-8CED-1602-4E169F110754}"/>
                </a:ext>
              </a:extLst>
            </p:cNvPr>
            <p:cNvSpPr/>
            <p:nvPr/>
          </p:nvSpPr>
          <p:spPr>
            <a:xfrm>
              <a:off x="193599" y="1122576"/>
              <a:ext cx="3717183" cy="2384880"/>
            </a:xfrm>
            <a:prstGeom prst="roundRect">
              <a:avLst/>
            </a:prstGeom>
            <a:solidFill>
              <a:srgbClr val="003057"/>
            </a:solidFill>
            <a:ln w="85725"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83" name="Google Shape;389;p22">
              <a:extLst>
                <a:ext uri="{FF2B5EF4-FFF2-40B4-BE49-F238E27FC236}">
                  <a16:creationId xmlns:a16="http://schemas.microsoft.com/office/drawing/2014/main" id="{BFEE4F93-98E5-8AA4-B22E-FBDD67D044DA}"/>
                </a:ext>
              </a:extLst>
            </p:cNvPr>
            <p:cNvSpPr/>
            <p:nvPr/>
          </p:nvSpPr>
          <p:spPr>
            <a:xfrm>
              <a:off x="4211340" y="1122576"/>
              <a:ext cx="3717183" cy="2384880"/>
            </a:xfrm>
            <a:prstGeom prst="roundRect">
              <a:avLst/>
            </a:prstGeom>
            <a:solidFill>
              <a:srgbClr val="003057"/>
            </a:solidFill>
            <a:ln w="85725"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84" name="Google Shape;389;p22">
              <a:extLst>
                <a:ext uri="{FF2B5EF4-FFF2-40B4-BE49-F238E27FC236}">
                  <a16:creationId xmlns:a16="http://schemas.microsoft.com/office/drawing/2014/main" id="{7617AD8C-C6B1-40C9-48F2-2D9A9EAEF0C6}"/>
                </a:ext>
              </a:extLst>
            </p:cNvPr>
            <p:cNvSpPr/>
            <p:nvPr/>
          </p:nvSpPr>
          <p:spPr>
            <a:xfrm>
              <a:off x="8229081" y="1122576"/>
              <a:ext cx="3717183" cy="2384880"/>
            </a:xfrm>
            <a:prstGeom prst="roundRect">
              <a:avLst/>
            </a:prstGeom>
            <a:solidFill>
              <a:srgbClr val="003057"/>
            </a:solidFill>
            <a:ln w="85725"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85" name="Google Shape;389;p22">
              <a:extLst>
                <a:ext uri="{FF2B5EF4-FFF2-40B4-BE49-F238E27FC236}">
                  <a16:creationId xmlns:a16="http://schemas.microsoft.com/office/drawing/2014/main" id="{8185AF08-50A4-499D-48B3-3270BA98D55B}"/>
                </a:ext>
              </a:extLst>
            </p:cNvPr>
            <p:cNvSpPr/>
            <p:nvPr/>
          </p:nvSpPr>
          <p:spPr>
            <a:xfrm>
              <a:off x="216260" y="1121494"/>
              <a:ext cx="3717183" cy="2384880"/>
            </a:xfrm>
            <a:prstGeom prst="roundRect">
              <a:avLst/>
            </a:prstGeom>
            <a:solidFill>
              <a:srgbClr val="003057"/>
            </a:solidFill>
            <a:ln w="57150"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it-IT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/>
                  <a:cs typeface="Arial"/>
                  <a:sym typeface="Arial"/>
                </a:rPr>
                <a:t>Intercettare un mercato in forte crescita</a:t>
              </a:r>
              <a:endParaRPr kumimoji="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86" name="Google Shape;389;p22">
              <a:extLst>
                <a:ext uri="{FF2B5EF4-FFF2-40B4-BE49-F238E27FC236}">
                  <a16:creationId xmlns:a16="http://schemas.microsoft.com/office/drawing/2014/main" id="{D9EFB325-D75D-469B-F0D4-0EA6EAF38A96}"/>
                </a:ext>
              </a:extLst>
            </p:cNvPr>
            <p:cNvSpPr/>
            <p:nvPr/>
          </p:nvSpPr>
          <p:spPr>
            <a:xfrm>
              <a:off x="4234001" y="1121494"/>
              <a:ext cx="3717183" cy="2384880"/>
            </a:xfrm>
            <a:prstGeom prst="roundRect">
              <a:avLst/>
            </a:prstGeom>
            <a:solidFill>
              <a:srgbClr val="003057"/>
            </a:solidFill>
            <a:ln w="57150"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algn="ctr">
                <a:buClr>
                  <a:srgbClr val="000000"/>
                </a:buClr>
                <a:defRPr/>
              </a:pPr>
              <a:r>
                <a:rPr lang="it-IT" b="1" kern="0" dirty="0">
                  <a:solidFill>
                    <a:schemeClr val="bg1"/>
                  </a:solidFill>
                  <a:latin typeface="Arial"/>
                  <a:cs typeface="Arial"/>
                  <a:sym typeface="Arial"/>
                </a:rPr>
                <a:t>Contrastare il fenomeno delle frodi</a:t>
              </a:r>
              <a:endParaRPr kumimoji="0" lang="it-IT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87" name="Google Shape;389;p22">
              <a:extLst>
                <a:ext uri="{FF2B5EF4-FFF2-40B4-BE49-F238E27FC236}">
                  <a16:creationId xmlns:a16="http://schemas.microsoft.com/office/drawing/2014/main" id="{A87827F0-0C60-6936-68B8-46EA1DBD59D8}"/>
                </a:ext>
              </a:extLst>
            </p:cNvPr>
            <p:cNvSpPr/>
            <p:nvPr/>
          </p:nvSpPr>
          <p:spPr>
            <a:xfrm>
              <a:off x="8251742" y="1121494"/>
              <a:ext cx="3717183" cy="2384880"/>
            </a:xfrm>
            <a:prstGeom prst="roundRect">
              <a:avLst/>
            </a:prstGeom>
            <a:solidFill>
              <a:srgbClr val="003057"/>
            </a:solidFill>
            <a:ln w="57150">
              <a:solidFill>
                <a:srgbClr val="AA0061"/>
              </a:solidFill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lang="it-IT" b="1" kern="0" dirty="0">
                  <a:solidFill>
                    <a:schemeClr val="bg1"/>
                  </a:solidFill>
                  <a:latin typeface="Arial"/>
                  <a:cs typeface="Arial"/>
                  <a:sym typeface="Arial"/>
                </a:rPr>
                <a:t>Risolvere problemi e criticità in capo a:</a:t>
              </a:r>
              <a:endParaRPr kumimoji="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88" name="Triangolo isoscele 87">
            <a:extLst>
              <a:ext uri="{FF2B5EF4-FFF2-40B4-BE49-F238E27FC236}">
                <a16:creationId xmlns:a16="http://schemas.microsoft.com/office/drawing/2014/main" id="{46DE596F-B1CA-AA55-C7E5-780819D994C1}"/>
              </a:ext>
            </a:extLst>
          </p:cNvPr>
          <p:cNvSpPr/>
          <p:nvPr/>
        </p:nvSpPr>
        <p:spPr>
          <a:xfrm rot="10800000">
            <a:off x="8643304" y="2954269"/>
            <a:ext cx="2918212" cy="455915"/>
          </a:xfrm>
          <a:prstGeom prst="triangle">
            <a:avLst>
              <a:gd name="adj" fmla="val 50000"/>
            </a:avLst>
          </a:prstGeom>
          <a:solidFill>
            <a:srgbClr val="003060"/>
          </a:solidFill>
          <a:ln w="57150" cap="flat" cmpd="sng" algn="ctr">
            <a:solidFill>
              <a:srgbClr val="AA006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9" name="Rettangolo con angoli arrotondati 88">
            <a:extLst>
              <a:ext uri="{FF2B5EF4-FFF2-40B4-BE49-F238E27FC236}">
                <a16:creationId xmlns:a16="http://schemas.microsoft.com/office/drawing/2014/main" id="{BF3C7C23-ADFB-74E3-1D74-29F8CD0CEC26}"/>
              </a:ext>
            </a:extLst>
          </p:cNvPr>
          <p:cNvSpPr/>
          <p:nvPr/>
        </p:nvSpPr>
        <p:spPr>
          <a:xfrm>
            <a:off x="327687" y="3551020"/>
            <a:ext cx="11513962" cy="2416080"/>
          </a:xfrm>
          <a:prstGeom prst="roundRect">
            <a:avLst/>
          </a:prstGeom>
          <a:noFill/>
          <a:ln w="38100">
            <a:solidFill>
              <a:srgbClr val="AA00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0" name="CasellaDiTesto 89">
            <a:extLst>
              <a:ext uri="{FF2B5EF4-FFF2-40B4-BE49-F238E27FC236}">
                <a16:creationId xmlns:a16="http://schemas.microsoft.com/office/drawing/2014/main" id="{EE8E8AE4-CDE1-0D7F-76E9-A30F9933C1AB}"/>
              </a:ext>
            </a:extLst>
          </p:cNvPr>
          <p:cNvSpPr txBox="1"/>
          <p:nvPr/>
        </p:nvSpPr>
        <p:spPr>
          <a:xfrm>
            <a:off x="777863" y="4328024"/>
            <a:ext cx="310531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processo documentale </a:t>
            </a: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manuale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potenziale </a:t>
            </a: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smarrimento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del </a:t>
            </a: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documento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mancanza di </a:t>
            </a: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standard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contrattuale.</a:t>
            </a:r>
          </a:p>
        </p:txBody>
      </p:sp>
      <p:sp>
        <p:nvSpPr>
          <p:cNvPr id="91" name="CasellaDiTesto 90">
            <a:extLst>
              <a:ext uri="{FF2B5EF4-FFF2-40B4-BE49-F238E27FC236}">
                <a16:creationId xmlns:a16="http://schemas.microsoft.com/office/drawing/2014/main" id="{F93EF1AA-0610-2DBA-A9E4-9AE21CDDE9B3}"/>
              </a:ext>
            </a:extLst>
          </p:cNvPr>
          <p:cNvSpPr txBox="1"/>
          <p:nvPr/>
        </p:nvSpPr>
        <p:spPr>
          <a:xfrm>
            <a:off x="4629050" y="4294228"/>
            <a:ext cx="291123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tempi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di svincolo </a:t>
            </a: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lunghi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mancanza di un </a:t>
            </a: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database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certificato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impossibilità di gestione </a:t>
            </a: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autonoma.</a:t>
            </a:r>
            <a:endParaRPr lang="it-IT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Rettangolo con angoli arrotondati 91">
            <a:extLst>
              <a:ext uri="{FF2B5EF4-FFF2-40B4-BE49-F238E27FC236}">
                <a16:creationId xmlns:a16="http://schemas.microsoft.com/office/drawing/2014/main" id="{39E6F141-3C76-EA9E-CCDF-4F5450E53F3F}"/>
              </a:ext>
            </a:extLst>
          </p:cNvPr>
          <p:cNvSpPr/>
          <p:nvPr/>
        </p:nvSpPr>
        <p:spPr>
          <a:xfrm>
            <a:off x="684310" y="4086478"/>
            <a:ext cx="3198874" cy="1457564"/>
          </a:xfrm>
          <a:prstGeom prst="roundRect">
            <a:avLst/>
          </a:prstGeom>
          <a:noFill/>
          <a:ln w="12700">
            <a:solidFill>
              <a:srgbClr val="003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93" name="Rettangolo con angoli arrotondati 92">
            <a:extLst>
              <a:ext uri="{FF2B5EF4-FFF2-40B4-BE49-F238E27FC236}">
                <a16:creationId xmlns:a16="http://schemas.microsoft.com/office/drawing/2014/main" id="{4BB6A2AE-4921-63AB-F537-20B277FB078D}"/>
              </a:ext>
            </a:extLst>
          </p:cNvPr>
          <p:cNvSpPr/>
          <p:nvPr/>
        </p:nvSpPr>
        <p:spPr>
          <a:xfrm>
            <a:off x="4511776" y="4103940"/>
            <a:ext cx="3198874" cy="1440102"/>
          </a:xfrm>
          <a:prstGeom prst="roundRect">
            <a:avLst/>
          </a:prstGeom>
          <a:noFill/>
          <a:ln w="12700">
            <a:solidFill>
              <a:srgbClr val="003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94" name="Rettangolo con angoli arrotondati 93">
            <a:extLst>
              <a:ext uri="{FF2B5EF4-FFF2-40B4-BE49-F238E27FC236}">
                <a16:creationId xmlns:a16="http://schemas.microsoft.com/office/drawing/2014/main" id="{504F9EFB-F28C-F5E7-6FE0-67BD77B6E991}"/>
              </a:ext>
            </a:extLst>
          </p:cNvPr>
          <p:cNvSpPr/>
          <p:nvPr/>
        </p:nvSpPr>
        <p:spPr>
          <a:xfrm>
            <a:off x="8339245" y="4086477"/>
            <a:ext cx="3198874" cy="1411098"/>
          </a:xfrm>
          <a:prstGeom prst="roundRect">
            <a:avLst/>
          </a:prstGeom>
          <a:noFill/>
          <a:ln w="12700">
            <a:solidFill>
              <a:srgbClr val="003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95" name="Rettangolo 94">
            <a:extLst>
              <a:ext uri="{FF2B5EF4-FFF2-40B4-BE49-F238E27FC236}">
                <a16:creationId xmlns:a16="http://schemas.microsoft.com/office/drawing/2014/main" id="{9AC55A0B-817A-F520-34B2-4B2953B644C2}"/>
              </a:ext>
            </a:extLst>
          </p:cNvPr>
          <p:cNvSpPr/>
          <p:nvPr/>
        </p:nvSpPr>
        <p:spPr>
          <a:xfrm>
            <a:off x="673293" y="3926323"/>
            <a:ext cx="1717291" cy="355234"/>
          </a:xfrm>
          <a:prstGeom prst="rect">
            <a:avLst/>
          </a:prstGeom>
          <a:solidFill>
            <a:srgbClr val="003057"/>
          </a:solidFill>
          <a:ln>
            <a:solidFill>
              <a:srgbClr val="003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/>
              <a:t>Garante</a:t>
            </a:r>
            <a:endParaRPr lang="it-IT" dirty="0"/>
          </a:p>
        </p:txBody>
      </p:sp>
      <p:sp>
        <p:nvSpPr>
          <p:cNvPr id="96" name="CasellaDiTesto 95">
            <a:extLst>
              <a:ext uri="{FF2B5EF4-FFF2-40B4-BE49-F238E27FC236}">
                <a16:creationId xmlns:a16="http://schemas.microsoft.com/office/drawing/2014/main" id="{B03AC019-2CBC-32B9-FD3B-FD7634A3EDD8}"/>
              </a:ext>
            </a:extLst>
          </p:cNvPr>
          <p:cNvSpPr txBox="1"/>
          <p:nvPr/>
        </p:nvSpPr>
        <p:spPr>
          <a:xfrm>
            <a:off x="8369874" y="4454659"/>
            <a:ext cx="316824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difficoltà </a:t>
            </a: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nell’escussione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mancanza di </a:t>
            </a: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verifica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di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400" b="1" dirty="0">
                <a:latin typeface="Arial" panose="020B0604020202020204" pitchFamily="34" charset="0"/>
                <a:cs typeface="Arial" panose="020B0604020202020204" pitchFamily="34" charset="0"/>
              </a:rPr>
              <a:t>autenticità</a:t>
            </a:r>
            <a:r>
              <a:rPr lang="it-IT" sz="1400" dirty="0">
                <a:latin typeface="Arial" panose="020B0604020202020204" pitchFamily="34" charset="0"/>
                <a:cs typeface="Arial" panose="020B0604020202020204" pitchFamily="34" charset="0"/>
              </a:rPr>
              <a:t> della fideiussione.</a:t>
            </a:r>
          </a:p>
        </p:txBody>
      </p:sp>
      <p:sp>
        <p:nvSpPr>
          <p:cNvPr id="97" name="Rettangolo 96">
            <a:extLst>
              <a:ext uri="{FF2B5EF4-FFF2-40B4-BE49-F238E27FC236}">
                <a16:creationId xmlns:a16="http://schemas.microsoft.com/office/drawing/2014/main" id="{89289174-501A-151C-CC7C-17E5522D8A44}"/>
              </a:ext>
            </a:extLst>
          </p:cNvPr>
          <p:cNvSpPr/>
          <p:nvPr/>
        </p:nvSpPr>
        <p:spPr>
          <a:xfrm>
            <a:off x="4500759" y="3926323"/>
            <a:ext cx="1717291" cy="355234"/>
          </a:xfrm>
          <a:prstGeom prst="rect">
            <a:avLst/>
          </a:prstGeom>
          <a:solidFill>
            <a:srgbClr val="003057"/>
          </a:solidFill>
          <a:ln>
            <a:solidFill>
              <a:srgbClr val="003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Contraente</a:t>
            </a:r>
          </a:p>
        </p:txBody>
      </p:sp>
      <p:sp>
        <p:nvSpPr>
          <p:cNvPr id="98" name="Rettangolo 97">
            <a:extLst>
              <a:ext uri="{FF2B5EF4-FFF2-40B4-BE49-F238E27FC236}">
                <a16:creationId xmlns:a16="http://schemas.microsoft.com/office/drawing/2014/main" id="{0022741E-6872-692F-DBF8-0B36632DB716}"/>
              </a:ext>
            </a:extLst>
          </p:cNvPr>
          <p:cNvSpPr/>
          <p:nvPr/>
        </p:nvSpPr>
        <p:spPr>
          <a:xfrm>
            <a:off x="8328225" y="3926323"/>
            <a:ext cx="1717291" cy="355234"/>
          </a:xfrm>
          <a:prstGeom prst="rect">
            <a:avLst/>
          </a:prstGeom>
          <a:solidFill>
            <a:srgbClr val="003057"/>
          </a:solidFill>
          <a:ln>
            <a:solidFill>
              <a:srgbClr val="003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Garantito</a:t>
            </a:r>
          </a:p>
        </p:txBody>
      </p:sp>
      <p:sp>
        <p:nvSpPr>
          <p:cNvPr id="99" name="Titolo 1">
            <a:extLst>
              <a:ext uri="{FF2B5EF4-FFF2-40B4-BE49-F238E27FC236}">
                <a16:creationId xmlns:a16="http://schemas.microsoft.com/office/drawing/2014/main" id="{EEA44668-AD09-2823-7302-F7A5DE443A94}"/>
              </a:ext>
            </a:extLst>
          </p:cNvPr>
          <p:cNvSpPr txBox="1">
            <a:spLocks/>
          </p:cNvSpPr>
          <p:nvPr/>
        </p:nvSpPr>
        <p:spPr>
          <a:xfrm>
            <a:off x="355885" y="364854"/>
            <a:ext cx="11513962" cy="88889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it-IT" sz="3000" b="1" dirty="0">
                <a:solidFill>
                  <a:srgbClr val="0030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e con l’obiettivo di supportare i soggetti coinvolti nella filiera delle fideiussioni</a:t>
            </a:r>
          </a:p>
        </p:txBody>
      </p:sp>
    </p:spTree>
    <p:extLst>
      <p:ext uri="{BB962C8B-B14F-4D97-AF65-F5344CB8AC3E}">
        <p14:creationId xmlns:p14="http://schemas.microsoft.com/office/powerpoint/2010/main" val="35805919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" name="Gruppo 80">
            <a:extLst>
              <a:ext uri="{FF2B5EF4-FFF2-40B4-BE49-F238E27FC236}">
                <a16:creationId xmlns:a16="http://schemas.microsoft.com/office/drawing/2014/main" id="{C2E29301-BB3E-AAD1-5B98-AE9A7ABDC4B2}"/>
              </a:ext>
            </a:extLst>
          </p:cNvPr>
          <p:cNvGrpSpPr/>
          <p:nvPr/>
        </p:nvGrpSpPr>
        <p:grpSpPr>
          <a:xfrm>
            <a:off x="-361401" y="1399368"/>
            <a:ext cx="14357142" cy="6232493"/>
            <a:chOff x="-361401" y="1437468"/>
            <a:chExt cx="14357142" cy="6232493"/>
          </a:xfrm>
        </p:grpSpPr>
        <p:pic>
          <p:nvPicPr>
            <p:cNvPr id="82" name="Immagine 81">
              <a:extLst>
                <a:ext uri="{FF2B5EF4-FFF2-40B4-BE49-F238E27FC236}">
                  <a16:creationId xmlns:a16="http://schemas.microsoft.com/office/drawing/2014/main" id="{DAB23081-586C-AF4E-B996-8BA5BD7F264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2693" t="2913" r="3548"/>
            <a:stretch/>
          </p:blipFill>
          <p:spPr>
            <a:xfrm>
              <a:off x="0" y="1460818"/>
              <a:ext cx="8248884" cy="6152481"/>
            </a:xfrm>
            <a:prstGeom prst="rect">
              <a:avLst/>
            </a:prstGeom>
          </p:spPr>
        </p:pic>
        <p:pic>
          <p:nvPicPr>
            <p:cNvPr id="83" name="Immagine 82">
              <a:extLst>
                <a:ext uri="{FF2B5EF4-FFF2-40B4-BE49-F238E27FC236}">
                  <a16:creationId xmlns:a16="http://schemas.microsoft.com/office/drawing/2014/main" id="{EF59006B-F43F-E6A7-89B8-E2432FD6AA8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285318" y="3845333"/>
              <a:ext cx="5157634" cy="2458872"/>
            </a:xfrm>
            <a:prstGeom prst="rect">
              <a:avLst/>
            </a:prstGeom>
          </p:spPr>
        </p:pic>
        <p:pic>
          <p:nvPicPr>
            <p:cNvPr id="84" name="Immagine 83">
              <a:extLst>
                <a:ext uri="{FF2B5EF4-FFF2-40B4-BE49-F238E27FC236}">
                  <a16:creationId xmlns:a16="http://schemas.microsoft.com/office/drawing/2014/main" id="{EA4AB06F-7EC7-D81D-691B-3C2F80723A1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179508" y="1437468"/>
              <a:ext cx="5816233" cy="6232493"/>
            </a:xfrm>
            <a:prstGeom prst="rect">
              <a:avLst/>
            </a:prstGeom>
          </p:spPr>
        </p:pic>
        <p:pic>
          <p:nvPicPr>
            <p:cNvPr id="85" name="Immagine 84">
              <a:extLst>
                <a:ext uri="{FF2B5EF4-FFF2-40B4-BE49-F238E27FC236}">
                  <a16:creationId xmlns:a16="http://schemas.microsoft.com/office/drawing/2014/main" id="{B19B36F9-52C1-0E11-8CB2-1376CE09595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681466" y="1437468"/>
              <a:ext cx="3010011" cy="3233896"/>
            </a:xfrm>
            <a:prstGeom prst="rect">
              <a:avLst/>
            </a:prstGeom>
          </p:spPr>
        </p:pic>
        <p:pic>
          <p:nvPicPr>
            <p:cNvPr id="86" name="Immagine 85">
              <a:extLst>
                <a:ext uri="{FF2B5EF4-FFF2-40B4-BE49-F238E27FC236}">
                  <a16:creationId xmlns:a16="http://schemas.microsoft.com/office/drawing/2014/main" id="{D1E9F962-4737-767A-0576-1F95F9CA492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r="4686"/>
            <a:stretch/>
          </p:blipFill>
          <p:spPr>
            <a:xfrm>
              <a:off x="3098224" y="5486632"/>
              <a:ext cx="5157635" cy="1976487"/>
            </a:xfrm>
            <a:prstGeom prst="rect">
              <a:avLst/>
            </a:prstGeom>
          </p:spPr>
        </p:pic>
        <p:pic>
          <p:nvPicPr>
            <p:cNvPr id="87" name="Immagine 86">
              <a:extLst>
                <a:ext uri="{FF2B5EF4-FFF2-40B4-BE49-F238E27FC236}">
                  <a16:creationId xmlns:a16="http://schemas.microsoft.com/office/drawing/2014/main" id="{52D93C51-1EED-9DB9-0793-69E9D89C175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-361401" y="5165754"/>
              <a:ext cx="4612711" cy="2127927"/>
            </a:xfrm>
            <a:prstGeom prst="rect">
              <a:avLst/>
            </a:prstGeom>
          </p:spPr>
        </p:pic>
        <p:pic>
          <p:nvPicPr>
            <p:cNvPr id="88" name="Immagine 87">
              <a:extLst>
                <a:ext uri="{FF2B5EF4-FFF2-40B4-BE49-F238E27FC236}">
                  <a16:creationId xmlns:a16="http://schemas.microsoft.com/office/drawing/2014/main" id="{1937015A-59FE-5B15-8A9C-5BDBD49DBC4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10102" t="13478" r="34200" b="-33833"/>
            <a:stretch/>
          </p:blipFill>
          <p:spPr>
            <a:xfrm>
              <a:off x="12773" y="1758770"/>
              <a:ext cx="3786127" cy="394385"/>
            </a:xfrm>
            <a:prstGeom prst="rect">
              <a:avLst/>
            </a:prstGeom>
          </p:spPr>
        </p:pic>
      </p:grpSp>
      <p:sp>
        <p:nvSpPr>
          <p:cNvPr id="89" name="Titolo 1">
            <a:extLst>
              <a:ext uri="{FF2B5EF4-FFF2-40B4-BE49-F238E27FC236}">
                <a16:creationId xmlns:a16="http://schemas.microsoft.com/office/drawing/2014/main" id="{116AC313-84CE-0B1E-B6A7-A8869AE58CA9}"/>
              </a:ext>
            </a:extLst>
          </p:cNvPr>
          <p:cNvSpPr txBox="1">
            <a:spLocks/>
          </p:cNvSpPr>
          <p:nvPr/>
        </p:nvSpPr>
        <p:spPr>
          <a:xfrm>
            <a:off x="838200" y="391518"/>
            <a:ext cx="10515600" cy="539115"/>
          </a:xfrm>
        </p:spPr>
        <p:txBody>
          <a:bodyPr anchor="b"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3000" b="1" dirty="0">
                <a:solidFill>
                  <a:srgbClr val="003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cuni casi di frodi riportati dai media</a:t>
            </a:r>
          </a:p>
        </p:txBody>
      </p:sp>
    </p:spTree>
    <p:extLst>
      <p:ext uri="{BB962C8B-B14F-4D97-AF65-F5344CB8AC3E}">
        <p14:creationId xmlns:p14="http://schemas.microsoft.com/office/powerpoint/2010/main" val="27509079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tangolo 14">
            <a:extLst>
              <a:ext uri="{FF2B5EF4-FFF2-40B4-BE49-F238E27FC236}">
                <a16:creationId xmlns:a16="http://schemas.microsoft.com/office/drawing/2014/main" id="{29A0B37B-0ED8-4A7B-890A-CD7040B1CE36}"/>
              </a:ext>
            </a:extLst>
          </p:cNvPr>
          <p:cNvSpPr/>
          <p:nvPr/>
        </p:nvSpPr>
        <p:spPr>
          <a:xfrm>
            <a:off x="712467" y="2465185"/>
            <a:ext cx="6522424" cy="513450"/>
          </a:xfrm>
          <a:prstGeom prst="rect">
            <a:avLst/>
          </a:prstGeom>
          <a:solidFill>
            <a:srgbClr val="003057"/>
          </a:solidFill>
          <a:ln w="19050">
            <a:solidFill>
              <a:srgbClr val="003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7B13179C-8F3A-BF44-862E-C13FD7E40330}"/>
              </a:ext>
            </a:extLst>
          </p:cNvPr>
          <p:cNvSpPr txBox="1"/>
          <p:nvPr/>
        </p:nvSpPr>
        <p:spPr>
          <a:xfrm>
            <a:off x="8060482" y="2956035"/>
            <a:ext cx="272382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5400" b="1" i="0" u="none" strike="noStrike" kern="1200" cap="none" spc="0" normalizeH="0" baseline="0" noProof="0" dirty="0">
                <a:ln>
                  <a:noFill/>
                </a:ln>
                <a:solidFill>
                  <a:srgbClr val="003057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9362BCB6-333E-4B86-84C4-152299D19653}"/>
              </a:ext>
            </a:extLst>
          </p:cNvPr>
          <p:cNvSpPr txBox="1"/>
          <p:nvPr/>
        </p:nvSpPr>
        <p:spPr>
          <a:xfrm>
            <a:off x="712467" y="1200772"/>
            <a:ext cx="518263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200" dirty="0">
                <a:latin typeface="Arial" panose="020B0604020202020204" pitchFamily="34" charset="0"/>
                <a:cs typeface="Arial" panose="020B0604020202020204" pitchFamily="34" charset="0"/>
              </a:rPr>
              <a:t>L’esigenza di mercato</a:t>
            </a: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FC817143-5BEE-456D-B25E-E640A2695892}"/>
              </a:ext>
            </a:extLst>
          </p:cNvPr>
          <p:cNvSpPr txBox="1"/>
          <p:nvPr/>
        </p:nvSpPr>
        <p:spPr>
          <a:xfrm>
            <a:off x="712467" y="2495898"/>
            <a:ext cx="518263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Sandbox</a:t>
            </a: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A0E92672-7087-41EE-B375-4F26ADF4E69A}"/>
              </a:ext>
            </a:extLst>
          </p:cNvPr>
          <p:cNvSpPr txBox="1"/>
          <p:nvPr/>
        </p:nvSpPr>
        <p:spPr>
          <a:xfrm>
            <a:off x="712467" y="3879365"/>
            <a:ext cx="574357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200" dirty="0">
                <a:latin typeface="Arial" panose="020B0604020202020204" pitchFamily="34" charset="0"/>
                <a:cs typeface="Arial" panose="020B0604020202020204" pitchFamily="34" charset="0"/>
              </a:rPr>
              <a:t>La soluzione «Fideiussioni Digitali» </a:t>
            </a:r>
          </a:p>
        </p:txBody>
      </p:sp>
      <p:sp>
        <p:nvSpPr>
          <p:cNvPr id="18" name="CasellaDiTesto 17">
            <a:extLst>
              <a:ext uri="{FF2B5EF4-FFF2-40B4-BE49-F238E27FC236}">
                <a16:creationId xmlns:a16="http://schemas.microsoft.com/office/drawing/2014/main" id="{7840DC34-0584-48D1-9685-81B0F26402B6}"/>
              </a:ext>
            </a:extLst>
          </p:cNvPr>
          <p:cNvSpPr txBox="1"/>
          <p:nvPr/>
        </p:nvSpPr>
        <p:spPr>
          <a:xfrm>
            <a:off x="712467" y="5274957"/>
            <a:ext cx="518263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200" dirty="0">
                <a:latin typeface="Arial" panose="020B0604020202020204" pitchFamily="34" charset="0"/>
                <a:cs typeface="Arial" panose="020B0604020202020204" pitchFamily="34" charset="0"/>
              </a:rPr>
              <a:t>Prossimi passi</a:t>
            </a:r>
          </a:p>
        </p:txBody>
      </p:sp>
    </p:spTree>
    <p:extLst>
      <p:ext uri="{BB962C8B-B14F-4D97-AF65-F5344CB8AC3E}">
        <p14:creationId xmlns:p14="http://schemas.microsoft.com/office/powerpoint/2010/main" val="53309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Connettore diritto 10">
            <a:extLst>
              <a:ext uri="{FF2B5EF4-FFF2-40B4-BE49-F238E27FC236}">
                <a16:creationId xmlns:a16="http://schemas.microsoft.com/office/drawing/2014/main" id="{834BB272-94EA-E0CB-5A7E-BCFF1A98B949}"/>
              </a:ext>
            </a:extLst>
          </p:cNvPr>
          <p:cNvCxnSpPr>
            <a:cxnSpLocks/>
          </p:cNvCxnSpPr>
          <p:nvPr/>
        </p:nvCxnSpPr>
        <p:spPr>
          <a:xfrm>
            <a:off x="8879392" y="3713167"/>
            <a:ext cx="1007741" cy="0"/>
          </a:xfrm>
          <a:prstGeom prst="line">
            <a:avLst/>
          </a:prstGeom>
          <a:noFill/>
          <a:ln w="12700" cap="flat" cmpd="sng" algn="ctr">
            <a:solidFill>
              <a:srgbClr val="CBCBCB"/>
            </a:solidFill>
            <a:prstDash val="solid"/>
            <a:miter lim="800000"/>
          </a:ln>
          <a:effectLst/>
        </p:spPr>
      </p:cxnSp>
      <p:sp>
        <p:nvSpPr>
          <p:cNvPr id="12" name="TextBox 20">
            <a:extLst>
              <a:ext uri="{FF2B5EF4-FFF2-40B4-BE49-F238E27FC236}">
                <a16:creationId xmlns:a16="http://schemas.microsoft.com/office/drawing/2014/main" id="{43348FCB-E931-5483-D9A0-360805A06F48}"/>
              </a:ext>
            </a:extLst>
          </p:cNvPr>
          <p:cNvSpPr txBox="1"/>
          <p:nvPr/>
        </p:nvSpPr>
        <p:spPr>
          <a:xfrm>
            <a:off x="9669292" y="3362841"/>
            <a:ext cx="2115968" cy="736713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bg1">
                <a:lumMod val="85000"/>
              </a:schemeClr>
            </a:solidFill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lvl="0" algn="ctr">
              <a:defRPr/>
            </a:pPr>
            <a:endParaRPr lang="en-US" sz="11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70296878-15AB-9F31-3CF1-A29ED771474E}"/>
              </a:ext>
            </a:extLst>
          </p:cNvPr>
          <p:cNvSpPr txBox="1"/>
          <p:nvPr/>
        </p:nvSpPr>
        <p:spPr>
          <a:xfrm>
            <a:off x="9699414" y="3507553"/>
            <a:ext cx="20705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it-IT" sz="1200" b="1" dirty="0">
                <a:latin typeface="Arial" panose="020B0604020202020204" pitchFamily="34" charset="0"/>
                <a:cs typeface="Arial" panose="020B0604020202020204" pitchFamily="34" charset="0"/>
              </a:rPr>
              <a:t>Efficientare</a:t>
            </a:r>
            <a:r>
              <a:rPr lang="it-IT" sz="1200" dirty="0">
                <a:latin typeface="Arial" panose="020B0604020202020204" pitchFamily="34" charset="0"/>
                <a:cs typeface="Arial" panose="020B0604020202020204" pitchFamily="34" charset="0"/>
              </a:rPr>
              <a:t> la gestione della fideiussione</a:t>
            </a:r>
          </a:p>
        </p:txBody>
      </p:sp>
      <p:sp>
        <p:nvSpPr>
          <p:cNvPr id="14" name="Arco 13">
            <a:extLst>
              <a:ext uri="{FF2B5EF4-FFF2-40B4-BE49-F238E27FC236}">
                <a16:creationId xmlns:a16="http://schemas.microsoft.com/office/drawing/2014/main" id="{38EC04F7-CB52-5ABC-7337-81C9F736EDB9}"/>
              </a:ext>
            </a:extLst>
          </p:cNvPr>
          <p:cNvSpPr/>
          <p:nvPr/>
        </p:nvSpPr>
        <p:spPr bwMode="auto">
          <a:xfrm rot="8766060">
            <a:off x="3518018" y="1671291"/>
            <a:ext cx="3807996" cy="3918584"/>
          </a:xfrm>
          <a:prstGeom prst="arc">
            <a:avLst>
              <a:gd name="adj1" fmla="val 21054235"/>
              <a:gd name="adj2" fmla="val 5053320"/>
            </a:avLst>
          </a:prstGeom>
          <a:noFill/>
          <a:ln w="19050" cap="flat" cmpd="sng" algn="ctr">
            <a:solidFill>
              <a:srgbClr val="2B3A64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709613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endParaRPr kumimoji="0" lang="it-IT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cxnSp>
        <p:nvCxnSpPr>
          <p:cNvPr id="15" name="Connettore diritto 14">
            <a:extLst>
              <a:ext uri="{FF2B5EF4-FFF2-40B4-BE49-F238E27FC236}">
                <a16:creationId xmlns:a16="http://schemas.microsoft.com/office/drawing/2014/main" id="{C730FDB6-FA43-9B02-5814-407F250CDE34}"/>
              </a:ext>
            </a:extLst>
          </p:cNvPr>
          <p:cNvCxnSpPr>
            <a:cxnSpLocks/>
          </p:cNvCxnSpPr>
          <p:nvPr/>
        </p:nvCxnSpPr>
        <p:spPr>
          <a:xfrm>
            <a:off x="8437435" y="5143032"/>
            <a:ext cx="1255349" cy="223453"/>
          </a:xfrm>
          <a:prstGeom prst="line">
            <a:avLst/>
          </a:prstGeom>
          <a:noFill/>
          <a:ln w="12700" cap="flat" cmpd="sng" algn="ctr">
            <a:solidFill>
              <a:srgbClr val="AA0061"/>
            </a:solidFill>
            <a:prstDash val="solid"/>
            <a:miter lim="800000"/>
          </a:ln>
          <a:effectLst/>
        </p:spPr>
      </p:cxnSp>
      <p:sp>
        <p:nvSpPr>
          <p:cNvPr id="16" name="Arco 15">
            <a:extLst>
              <a:ext uri="{FF2B5EF4-FFF2-40B4-BE49-F238E27FC236}">
                <a16:creationId xmlns:a16="http://schemas.microsoft.com/office/drawing/2014/main" id="{DA866CCB-EEC9-0DB3-A863-DA80587957C7}"/>
              </a:ext>
            </a:extLst>
          </p:cNvPr>
          <p:cNvSpPr/>
          <p:nvPr/>
        </p:nvSpPr>
        <p:spPr bwMode="auto">
          <a:xfrm>
            <a:off x="4773174" y="1802468"/>
            <a:ext cx="3974354" cy="3903527"/>
          </a:xfrm>
          <a:prstGeom prst="arc">
            <a:avLst>
              <a:gd name="adj1" fmla="val 17716565"/>
              <a:gd name="adj2" fmla="val 3544583"/>
            </a:avLst>
          </a:prstGeom>
          <a:noFill/>
          <a:ln w="19050" cap="flat" cmpd="sng" algn="ctr">
            <a:solidFill>
              <a:srgbClr val="003057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709613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>
                <a:schemeClr val="tx1"/>
              </a:buClr>
              <a:buSzTx/>
              <a:buFont typeface="Wingdings" pitchFamily="2" charset="2"/>
              <a:buNone/>
              <a:tabLst/>
            </a:pPr>
            <a:endParaRPr kumimoji="0" lang="it-IT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7" name="Connettore diritto 16">
            <a:extLst>
              <a:ext uri="{FF2B5EF4-FFF2-40B4-BE49-F238E27FC236}">
                <a16:creationId xmlns:a16="http://schemas.microsoft.com/office/drawing/2014/main" id="{673D018A-22AC-1F59-229F-68C23FF4A48A}"/>
              </a:ext>
            </a:extLst>
          </p:cNvPr>
          <p:cNvCxnSpPr>
            <a:cxnSpLocks/>
          </p:cNvCxnSpPr>
          <p:nvPr/>
        </p:nvCxnSpPr>
        <p:spPr>
          <a:xfrm flipV="1">
            <a:off x="8417517" y="2148886"/>
            <a:ext cx="1498194" cy="211260"/>
          </a:xfrm>
          <a:prstGeom prst="line">
            <a:avLst/>
          </a:prstGeom>
          <a:noFill/>
          <a:ln w="12700" cap="flat" cmpd="sng" algn="ctr">
            <a:solidFill>
              <a:srgbClr val="C4D600"/>
            </a:solidFill>
            <a:prstDash val="solid"/>
            <a:miter lim="800000"/>
          </a:ln>
          <a:effectLst/>
        </p:spPr>
      </p:cxnSp>
      <p:sp>
        <p:nvSpPr>
          <p:cNvPr id="18" name="Ovale 17">
            <a:extLst>
              <a:ext uri="{FF2B5EF4-FFF2-40B4-BE49-F238E27FC236}">
                <a16:creationId xmlns:a16="http://schemas.microsoft.com/office/drawing/2014/main" id="{9110E517-53EA-2D3E-BA6B-89BC39EA4892}"/>
              </a:ext>
            </a:extLst>
          </p:cNvPr>
          <p:cNvSpPr/>
          <p:nvPr/>
        </p:nvSpPr>
        <p:spPr>
          <a:xfrm>
            <a:off x="7953027" y="2142257"/>
            <a:ext cx="581153" cy="581153"/>
          </a:xfrm>
          <a:prstGeom prst="ellipse">
            <a:avLst/>
          </a:prstGeom>
          <a:solidFill>
            <a:srgbClr val="C4D600"/>
          </a:solidFill>
          <a:ln w="12700" cap="flat" cmpd="sng" algn="ctr">
            <a:solidFill>
              <a:srgbClr val="C4D600"/>
            </a:solidFill>
            <a:prstDash val="solid"/>
            <a:miter lim="800000"/>
          </a:ln>
          <a:effectLst/>
        </p:spPr>
        <p:txBody>
          <a:bodyPr/>
          <a:lstStyle/>
          <a:p>
            <a:endParaRPr lang="it-IT"/>
          </a:p>
        </p:txBody>
      </p:sp>
      <p:sp>
        <p:nvSpPr>
          <p:cNvPr id="19" name="TextBox 20">
            <a:extLst>
              <a:ext uri="{FF2B5EF4-FFF2-40B4-BE49-F238E27FC236}">
                <a16:creationId xmlns:a16="http://schemas.microsoft.com/office/drawing/2014/main" id="{E77C49A0-0FD5-8C39-15FE-705FD48B06CC}"/>
              </a:ext>
            </a:extLst>
          </p:cNvPr>
          <p:cNvSpPr txBox="1"/>
          <p:nvPr/>
        </p:nvSpPr>
        <p:spPr>
          <a:xfrm>
            <a:off x="9596193" y="1640275"/>
            <a:ext cx="2019071" cy="762281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C4D600"/>
            </a:solidFill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lvl="0" algn="ctr">
              <a:defRPr/>
            </a:pPr>
            <a:endParaRPr lang="en-US" sz="11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Ovale 19">
            <a:extLst>
              <a:ext uri="{FF2B5EF4-FFF2-40B4-BE49-F238E27FC236}">
                <a16:creationId xmlns:a16="http://schemas.microsoft.com/office/drawing/2014/main" id="{6B85B6A9-CE4C-8CD4-CF27-DC50C446D9CB}"/>
              </a:ext>
            </a:extLst>
          </p:cNvPr>
          <p:cNvSpPr/>
          <p:nvPr/>
        </p:nvSpPr>
        <p:spPr>
          <a:xfrm>
            <a:off x="8474092" y="3422210"/>
            <a:ext cx="581153" cy="581153"/>
          </a:xfrm>
          <a:prstGeom prst="ellipse">
            <a:avLst/>
          </a:prstGeom>
          <a:solidFill>
            <a:srgbClr val="CBCBCB"/>
          </a:solidFill>
          <a:ln w="12700" cap="flat" cmpd="sng" algn="ctr">
            <a:solidFill>
              <a:srgbClr val="CBCBCB"/>
            </a:solidFill>
            <a:prstDash val="solid"/>
            <a:miter lim="800000"/>
          </a:ln>
          <a:effectLst/>
        </p:spPr>
        <p:txBody>
          <a:bodyPr/>
          <a:lstStyle/>
          <a:p>
            <a:endParaRPr lang="it-IT"/>
          </a:p>
        </p:txBody>
      </p:sp>
      <p:sp>
        <p:nvSpPr>
          <p:cNvPr id="21" name="Ovale 20">
            <a:extLst>
              <a:ext uri="{FF2B5EF4-FFF2-40B4-BE49-F238E27FC236}">
                <a16:creationId xmlns:a16="http://schemas.microsoft.com/office/drawing/2014/main" id="{6095C114-9829-55C3-2D31-31ECE5C7780E}"/>
              </a:ext>
            </a:extLst>
          </p:cNvPr>
          <p:cNvSpPr/>
          <p:nvPr/>
        </p:nvSpPr>
        <p:spPr>
          <a:xfrm>
            <a:off x="7943708" y="4772283"/>
            <a:ext cx="581153" cy="581153"/>
          </a:xfrm>
          <a:prstGeom prst="ellipse">
            <a:avLst/>
          </a:prstGeom>
          <a:solidFill>
            <a:srgbClr val="AA0061"/>
          </a:solidFill>
          <a:ln w="12700" cap="flat" cmpd="sng" algn="ctr">
            <a:solidFill>
              <a:srgbClr val="AA0061"/>
            </a:solidFill>
            <a:prstDash val="solid"/>
            <a:miter lim="800000"/>
          </a:ln>
          <a:effectLst/>
        </p:spPr>
        <p:txBody>
          <a:bodyPr/>
          <a:lstStyle/>
          <a:p>
            <a:endParaRPr lang="it-IT"/>
          </a:p>
        </p:txBody>
      </p:sp>
      <p:sp>
        <p:nvSpPr>
          <p:cNvPr id="22" name="TextBox 20">
            <a:extLst>
              <a:ext uri="{FF2B5EF4-FFF2-40B4-BE49-F238E27FC236}">
                <a16:creationId xmlns:a16="http://schemas.microsoft.com/office/drawing/2014/main" id="{080B3DA4-51E9-2E5D-5CA6-7671B47524D0}"/>
              </a:ext>
            </a:extLst>
          </p:cNvPr>
          <p:cNvSpPr txBox="1"/>
          <p:nvPr/>
        </p:nvSpPr>
        <p:spPr>
          <a:xfrm>
            <a:off x="9452855" y="5253532"/>
            <a:ext cx="2019071" cy="605880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AA0061"/>
            </a:solidFill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lvl="0" algn="ctr">
              <a:defRPr/>
            </a:pPr>
            <a:endParaRPr lang="en-US" sz="11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3" name="Connettore diritto 22">
            <a:extLst>
              <a:ext uri="{FF2B5EF4-FFF2-40B4-BE49-F238E27FC236}">
                <a16:creationId xmlns:a16="http://schemas.microsoft.com/office/drawing/2014/main" id="{A52013BE-B5ED-77F5-F380-768C127F3CCC}"/>
              </a:ext>
            </a:extLst>
          </p:cNvPr>
          <p:cNvCxnSpPr>
            <a:cxnSpLocks/>
          </p:cNvCxnSpPr>
          <p:nvPr/>
        </p:nvCxnSpPr>
        <p:spPr>
          <a:xfrm flipV="1">
            <a:off x="2700363" y="4170397"/>
            <a:ext cx="794618" cy="218560"/>
          </a:xfrm>
          <a:prstGeom prst="line">
            <a:avLst/>
          </a:prstGeom>
          <a:noFill/>
          <a:ln w="12700" cap="flat" cmpd="sng" algn="ctr">
            <a:solidFill>
              <a:srgbClr val="4F868E"/>
            </a:solidFill>
            <a:prstDash val="solid"/>
            <a:miter lim="800000"/>
          </a:ln>
          <a:effectLst/>
        </p:spPr>
      </p:cxnSp>
      <p:sp>
        <p:nvSpPr>
          <p:cNvPr id="24" name="Ovale 23">
            <a:extLst>
              <a:ext uri="{FF2B5EF4-FFF2-40B4-BE49-F238E27FC236}">
                <a16:creationId xmlns:a16="http://schemas.microsoft.com/office/drawing/2014/main" id="{C2499C9A-2863-475F-52B0-781EDFCDEF74}"/>
              </a:ext>
            </a:extLst>
          </p:cNvPr>
          <p:cNvSpPr/>
          <p:nvPr/>
        </p:nvSpPr>
        <p:spPr>
          <a:xfrm>
            <a:off x="3224251" y="3864612"/>
            <a:ext cx="581153" cy="581153"/>
          </a:xfrm>
          <a:prstGeom prst="ellipse">
            <a:avLst/>
          </a:prstGeom>
          <a:solidFill>
            <a:srgbClr val="4F868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/>
          <a:lstStyle/>
          <a:p>
            <a:endParaRPr lang="it-IT"/>
          </a:p>
        </p:txBody>
      </p:sp>
      <p:sp>
        <p:nvSpPr>
          <p:cNvPr id="25" name="Ovale 24">
            <a:extLst>
              <a:ext uri="{FF2B5EF4-FFF2-40B4-BE49-F238E27FC236}">
                <a16:creationId xmlns:a16="http://schemas.microsoft.com/office/drawing/2014/main" id="{FFCD791B-511A-DD75-4686-57C8D103744C}"/>
              </a:ext>
            </a:extLst>
          </p:cNvPr>
          <p:cNvSpPr/>
          <p:nvPr/>
        </p:nvSpPr>
        <p:spPr>
          <a:xfrm>
            <a:off x="3266984" y="2698701"/>
            <a:ext cx="581153" cy="581153"/>
          </a:xfrm>
          <a:prstGeom prst="ellipse">
            <a:avLst/>
          </a:prstGeom>
          <a:solidFill>
            <a:srgbClr val="00305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/>
          <a:lstStyle/>
          <a:p>
            <a:endParaRPr lang="it-IT"/>
          </a:p>
        </p:txBody>
      </p:sp>
      <p:cxnSp>
        <p:nvCxnSpPr>
          <p:cNvPr id="26" name="Connettore diritto 25">
            <a:extLst>
              <a:ext uri="{FF2B5EF4-FFF2-40B4-BE49-F238E27FC236}">
                <a16:creationId xmlns:a16="http://schemas.microsoft.com/office/drawing/2014/main" id="{86B659AD-294D-2AB0-2EFD-8FC883989A1D}"/>
              </a:ext>
            </a:extLst>
          </p:cNvPr>
          <p:cNvCxnSpPr>
            <a:cxnSpLocks/>
          </p:cNvCxnSpPr>
          <p:nvPr/>
        </p:nvCxnSpPr>
        <p:spPr>
          <a:xfrm>
            <a:off x="2032098" y="2684953"/>
            <a:ext cx="1407798" cy="253871"/>
          </a:xfrm>
          <a:prstGeom prst="line">
            <a:avLst/>
          </a:prstGeom>
          <a:noFill/>
          <a:ln w="12700" cap="flat" cmpd="sng" algn="ctr">
            <a:solidFill>
              <a:srgbClr val="003057"/>
            </a:solidFill>
            <a:prstDash val="solid"/>
            <a:miter lim="800000"/>
          </a:ln>
          <a:effectLst/>
        </p:spPr>
      </p:cxnSp>
      <p:sp>
        <p:nvSpPr>
          <p:cNvPr id="27" name="TextBox 20">
            <a:extLst>
              <a:ext uri="{FF2B5EF4-FFF2-40B4-BE49-F238E27FC236}">
                <a16:creationId xmlns:a16="http://schemas.microsoft.com/office/drawing/2014/main" id="{A8DEF0AA-3C0B-E9CF-57D1-301DD9A09CF0}"/>
              </a:ext>
            </a:extLst>
          </p:cNvPr>
          <p:cNvSpPr txBox="1"/>
          <p:nvPr/>
        </p:nvSpPr>
        <p:spPr>
          <a:xfrm>
            <a:off x="396466" y="2014728"/>
            <a:ext cx="2142622" cy="951273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03057"/>
            </a:solidFill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lvl="0" algn="ctr">
              <a:defRPr/>
            </a:pPr>
            <a:endParaRPr lang="en-US" sz="11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CasellaDiTesto 27">
            <a:extLst>
              <a:ext uri="{FF2B5EF4-FFF2-40B4-BE49-F238E27FC236}">
                <a16:creationId xmlns:a16="http://schemas.microsoft.com/office/drawing/2014/main" id="{E63D8E79-9856-19D6-7398-BCA60EB83C3E}"/>
              </a:ext>
            </a:extLst>
          </p:cNvPr>
          <p:cNvSpPr txBox="1"/>
          <p:nvPr/>
        </p:nvSpPr>
        <p:spPr>
          <a:xfrm>
            <a:off x="376407" y="2170462"/>
            <a:ext cx="21827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it-IT" sz="1200" dirty="0">
                <a:latin typeface="Arial" panose="020B0604020202020204" pitchFamily="34" charset="0"/>
                <a:cs typeface="Arial" panose="020B0604020202020204" pitchFamily="34" charset="0"/>
              </a:rPr>
              <a:t>Fornire </a:t>
            </a:r>
            <a:r>
              <a:rPr lang="it-IT" sz="1200" b="1" dirty="0">
                <a:latin typeface="Arial" panose="020B0604020202020204" pitchFamily="34" charset="0"/>
                <a:cs typeface="Arial" panose="020B0604020202020204" pitchFamily="34" charset="0"/>
              </a:rPr>
              <a:t>informazioni certificate e puntuali </a:t>
            </a:r>
            <a:r>
              <a:rPr lang="it-IT" sz="1200" dirty="0">
                <a:latin typeface="Arial" panose="020B0604020202020204" pitchFamily="34" charset="0"/>
                <a:cs typeface="Arial" panose="020B0604020202020204" pitchFamily="34" charset="0"/>
              </a:rPr>
              <a:t>a tutti gli attori della filiera</a:t>
            </a:r>
          </a:p>
        </p:txBody>
      </p:sp>
      <p:pic>
        <p:nvPicPr>
          <p:cNvPr id="29" name="Picture 18" descr="Image result for Guardia di Finanza">
            <a:extLst>
              <a:ext uri="{FF2B5EF4-FFF2-40B4-BE49-F238E27FC236}">
                <a16:creationId xmlns:a16="http://schemas.microsoft.com/office/drawing/2014/main" id="{75CAF539-8ABF-BECD-4D83-8840829F3C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8624" y="5429560"/>
            <a:ext cx="412215" cy="414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">
            <a:extLst>
              <a:ext uri="{FF2B5EF4-FFF2-40B4-BE49-F238E27FC236}">
                <a16:creationId xmlns:a16="http://schemas.microsoft.com/office/drawing/2014/main" id="{8A5ABFCE-EA09-BC34-DF74-01B564DD52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2512" y="5453430"/>
            <a:ext cx="1120489" cy="3817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12" descr="Image result for banca d'italia">
            <a:extLst>
              <a:ext uri="{FF2B5EF4-FFF2-40B4-BE49-F238E27FC236}">
                <a16:creationId xmlns:a16="http://schemas.microsoft.com/office/drawing/2014/main" id="{DC25CC73-DABF-CE62-612C-FB5B7106E0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6905" y="5433014"/>
            <a:ext cx="378545" cy="4226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CasellaDiTesto 31">
            <a:extLst>
              <a:ext uri="{FF2B5EF4-FFF2-40B4-BE49-F238E27FC236}">
                <a16:creationId xmlns:a16="http://schemas.microsoft.com/office/drawing/2014/main" id="{4551C9FD-3368-6F4E-CC59-68A68C77103B}"/>
              </a:ext>
            </a:extLst>
          </p:cNvPr>
          <p:cNvSpPr txBox="1"/>
          <p:nvPr/>
        </p:nvSpPr>
        <p:spPr>
          <a:xfrm>
            <a:off x="4860903" y="5073225"/>
            <a:ext cx="22369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b="1" i="1" dirty="0">
                <a:latin typeface="Arial" panose="020B0604020202020204" pitchFamily="34" charset="0"/>
                <a:cs typeface="Arial" panose="020B0604020202020204" pitchFamily="34" charset="0"/>
              </a:rPr>
              <a:t>Osservatori istituzionali</a:t>
            </a:r>
          </a:p>
        </p:txBody>
      </p:sp>
      <p:sp>
        <p:nvSpPr>
          <p:cNvPr id="33" name="TextBox 20">
            <a:extLst>
              <a:ext uri="{FF2B5EF4-FFF2-40B4-BE49-F238E27FC236}">
                <a16:creationId xmlns:a16="http://schemas.microsoft.com/office/drawing/2014/main" id="{C284F3D8-FEB8-2F65-421A-15CDA02A78C2}"/>
              </a:ext>
            </a:extLst>
          </p:cNvPr>
          <p:cNvSpPr txBox="1"/>
          <p:nvPr/>
        </p:nvSpPr>
        <p:spPr>
          <a:xfrm>
            <a:off x="735092" y="3955016"/>
            <a:ext cx="2019071" cy="1057832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4F868E"/>
            </a:solidFill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lvl="0" algn="ctr">
              <a:defRPr/>
            </a:pPr>
            <a:endParaRPr lang="en-US" sz="11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CasellaDiTesto 33">
            <a:extLst>
              <a:ext uri="{FF2B5EF4-FFF2-40B4-BE49-F238E27FC236}">
                <a16:creationId xmlns:a16="http://schemas.microsoft.com/office/drawing/2014/main" id="{161F7A17-58B6-6A91-88B3-1A2B42E8C5CB}"/>
              </a:ext>
            </a:extLst>
          </p:cNvPr>
          <p:cNvSpPr txBox="1"/>
          <p:nvPr/>
        </p:nvSpPr>
        <p:spPr>
          <a:xfrm>
            <a:off x="789329" y="4082405"/>
            <a:ext cx="1933204" cy="830997"/>
          </a:xfrm>
          <a:prstGeom prst="rect">
            <a:avLst/>
          </a:prstGeom>
          <a:noFill/>
          <a:ln w="28575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it-IT" sz="1200" dirty="0">
                <a:latin typeface="Arial" panose="020B0604020202020204" pitchFamily="34" charset="0"/>
                <a:cs typeface="Arial" panose="020B0604020202020204" pitchFamily="34" charset="0"/>
              </a:rPr>
              <a:t>Agevolare il </a:t>
            </a:r>
            <a:r>
              <a:rPr lang="it-IT" sz="1200" b="1" dirty="0">
                <a:latin typeface="Arial" panose="020B0604020202020204" pitchFamily="34" charset="0"/>
                <a:cs typeface="Arial" panose="020B0604020202020204" pitchFamily="34" charset="0"/>
              </a:rPr>
              <a:t>coordinamento</a:t>
            </a:r>
            <a:r>
              <a:rPr lang="it-IT" sz="1200" dirty="0">
                <a:latin typeface="Arial" panose="020B0604020202020204" pitchFamily="34" charset="0"/>
                <a:cs typeface="Arial" panose="020B0604020202020204" pitchFamily="34" charset="0"/>
              </a:rPr>
              <a:t>  e l’</a:t>
            </a:r>
            <a:r>
              <a:rPr lang="it-IT" sz="1200" b="1" dirty="0">
                <a:latin typeface="Arial" panose="020B0604020202020204" pitchFamily="34" charset="0"/>
                <a:cs typeface="Arial" panose="020B0604020202020204" pitchFamily="34" charset="0"/>
              </a:rPr>
              <a:t>accesso</a:t>
            </a:r>
            <a:r>
              <a:rPr lang="it-IT" sz="1200" dirty="0">
                <a:latin typeface="Arial" panose="020B0604020202020204" pitchFamily="34" charset="0"/>
                <a:cs typeface="Arial" panose="020B0604020202020204" pitchFamily="34" charset="0"/>
              </a:rPr>
              <a:t> dei diversi attori</a:t>
            </a:r>
          </a:p>
        </p:txBody>
      </p:sp>
      <p:sp>
        <p:nvSpPr>
          <p:cNvPr id="35" name="CasellaDiTesto 34">
            <a:extLst>
              <a:ext uri="{FF2B5EF4-FFF2-40B4-BE49-F238E27FC236}">
                <a16:creationId xmlns:a16="http://schemas.microsoft.com/office/drawing/2014/main" id="{2E7091A4-1473-E1A3-6847-9DF65FF6FC7F}"/>
              </a:ext>
            </a:extLst>
          </p:cNvPr>
          <p:cNvSpPr txBox="1"/>
          <p:nvPr/>
        </p:nvSpPr>
        <p:spPr>
          <a:xfrm>
            <a:off x="9609934" y="1801016"/>
            <a:ext cx="20190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200" b="1" dirty="0">
                <a:latin typeface="Arial" panose="020B0604020202020204" pitchFamily="34" charset="0"/>
                <a:cs typeface="Arial" panose="020B0604020202020204" pitchFamily="34" charset="0"/>
              </a:rPr>
              <a:t>Dematerializzare</a:t>
            </a:r>
            <a:r>
              <a:rPr lang="it-IT" sz="1200" dirty="0">
                <a:latin typeface="Arial" panose="020B0604020202020204" pitchFamily="34" charset="0"/>
                <a:cs typeface="Arial" panose="020B0604020202020204" pitchFamily="34" charset="0"/>
              </a:rPr>
              <a:t> la fideiussione</a:t>
            </a:r>
          </a:p>
        </p:txBody>
      </p:sp>
      <p:sp>
        <p:nvSpPr>
          <p:cNvPr id="36" name="CasellaDiTesto 35">
            <a:extLst>
              <a:ext uri="{FF2B5EF4-FFF2-40B4-BE49-F238E27FC236}">
                <a16:creationId xmlns:a16="http://schemas.microsoft.com/office/drawing/2014/main" id="{55ED2D67-6E92-C281-4A5C-2ED834E2D181}"/>
              </a:ext>
            </a:extLst>
          </p:cNvPr>
          <p:cNvSpPr txBox="1"/>
          <p:nvPr/>
        </p:nvSpPr>
        <p:spPr>
          <a:xfrm>
            <a:off x="9544295" y="5328652"/>
            <a:ext cx="18581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it-IT" sz="1200" b="1" dirty="0">
                <a:latin typeface="Arial" panose="020B0604020202020204" pitchFamily="34" charset="0"/>
                <a:cs typeface="Arial" panose="020B0604020202020204" pitchFamily="34" charset="0"/>
              </a:rPr>
              <a:t>Ridurre</a:t>
            </a:r>
            <a:r>
              <a:rPr lang="it-IT" sz="1200" dirty="0">
                <a:latin typeface="Arial" panose="020B0604020202020204" pitchFamily="34" charset="0"/>
                <a:cs typeface="Arial" panose="020B0604020202020204" pitchFamily="34" charset="0"/>
              </a:rPr>
              <a:t> il fenomeno delle </a:t>
            </a:r>
            <a:r>
              <a:rPr lang="it-IT" sz="1200" b="1" dirty="0">
                <a:latin typeface="Arial" panose="020B0604020202020204" pitchFamily="34" charset="0"/>
                <a:cs typeface="Arial" panose="020B0604020202020204" pitchFamily="34" charset="0"/>
              </a:rPr>
              <a:t>frodi</a:t>
            </a: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rgbClr val="003057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Arial"/>
            </a:endParaRPr>
          </a:p>
        </p:txBody>
      </p:sp>
      <p:sp>
        <p:nvSpPr>
          <p:cNvPr id="37" name="Titolo 1">
            <a:extLst>
              <a:ext uri="{FF2B5EF4-FFF2-40B4-BE49-F238E27FC236}">
                <a16:creationId xmlns:a16="http://schemas.microsoft.com/office/drawing/2014/main" id="{DD6AFE75-4F8E-389B-957E-9EC2E943ABBE}"/>
              </a:ext>
            </a:extLst>
          </p:cNvPr>
          <p:cNvSpPr txBox="1">
            <a:spLocks/>
          </p:cNvSpPr>
          <p:nvPr/>
        </p:nvSpPr>
        <p:spPr>
          <a:xfrm>
            <a:off x="624682" y="355821"/>
            <a:ext cx="10942637" cy="97738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it-IT" sz="3000" b="1" dirty="0">
                <a:solidFill>
                  <a:srgbClr val="0030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li obiettivi e l’ecosistema di Istituzioni con cui abbiamo lavorato durante la Sandbox</a:t>
            </a:r>
          </a:p>
        </p:txBody>
      </p:sp>
      <p:pic>
        <p:nvPicPr>
          <p:cNvPr id="38" name="Elemento grafico 37" descr="Cicli con persone con riempimento a tinta unita">
            <a:extLst>
              <a:ext uri="{FF2B5EF4-FFF2-40B4-BE49-F238E27FC236}">
                <a16:creationId xmlns:a16="http://schemas.microsoft.com/office/drawing/2014/main" id="{325BB302-D847-E522-6251-56371A8D817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248246" y="3864612"/>
            <a:ext cx="549682" cy="549682"/>
          </a:xfrm>
          <a:prstGeom prst="rect">
            <a:avLst/>
          </a:prstGeom>
        </p:spPr>
      </p:pic>
      <p:pic>
        <p:nvPicPr>
          <p:cNvPr id="39" name="Elemento grafico 38" descr="Blog con riempimento a tinta unita">
            <a:extLst>
              <a:ext uri="{FF2B5EF4-FFF2-40B4-BE49-F238E27FC236}">
                <a16:creationId xmlns:a16="http://schemas.microsoft.com/office/drawing/2014/main" id="{E2EB8BA2-2DD6-BACA-BEC0-03B649EC43D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060793" y="2250349"/>
            <a:ext cx="396000" cy="396000"/>
          </a:xfrm>
          <a:prstGeom prst="rect">
            <a:avLst/>
          </a:prstGeom>
        </p:spPr>
      </p:pic>
      <p:grpSp>
        <p:nvGrpSpPr>
          <p:cNvPr id="40" name="Saf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25B96FE7-5E4F-2E87-46FF-66CF97899CC0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8053616" y="4893532"/>
            <a:ext cx="373570" cy="360000"/>
            <a:chOff x="41" y="55"/>
            <a:chExt cx="413" cy="398"/>
          </a:xfrm>
          <a:solidFill>
            <a:schemeClr val="bg1"/>
          </a:solidFill>
        </p:grpSpPr>
        <p:sp>
          <p:nvSpPr>
            <p:cNvPr id="41" name="Safe">
              <a:extLst>
                <a:ext uri="{FF2B5EF4-FFF2-40B4-BE49-F238E27FC236}">
                  <a16:creationId xmlns:a16="http://schemas.microsoft.com/office/drawing/2014/main" id="{0DCE5910-B62B-EBCC-5388-B19F91FE3F5A}"/>
                </a:ext>
              </a:extLst>
            </p:cNvPr>
            <p:cNvSpPr>
              <a:spLocks noEditPoints="1"/>
            </p:cNvSpPr>
            <p:nvPr>
              <p:custDataLst>
                <p:tags r:id="rId3"/>
              </p:custDataLst>
            </p:nvPr>
          </p:nvSpPr>
          <p:spPr bwMode="auto">
            <a:xfrm>
              <a:off x="110" y="106"/>
              <a:ext cx="275" cy="279"/>
            </a:xfrm>
            <a:custGeom>
              <a:avLst/>
              <a:gdLst>
                <a:gd name="T0" fmla="*/ 0 w 732"/>
                <a:gd name="T1" fmla="*/ 0 h 741"/>
                <a:gd name="T2" fmla="*/ 0 w 732"/>
                <a:gd name="T3" fmla="*/ 741 h 741"/>
                <a:gd name="T4" fmla="*/ 732 w 732"/>
                <a:gd name="T5" fmla="*/ 741 h 741"/>
                <a:gd name="T6" fmla="*/ 732 w 732"/>
                <a:gd name="T7" fmla="*/ 0 h 741"/>
                <a:gd name="T8" fmla="*/ 0 w 732"/>
                <a:gd name="T9" fmla="*/ 0 h 741"/>
                <a:gd name="T10" fmla="*/ 629 w 732"/>
                <a:gd name="T11" fmla="*/ 436 h 741"/>
                <a:gd name="T12" fmla="*/ 564 w 732"/>
                <a:gd name="T13" fmla="*/ 383 h 741"/>
                <a:gd name="T14" fmla="*/ 462 w 732"/>
                <a:gd name="T15" fmla="*/ 383 h 741"/>
                <a:gd name="T16" fmla="*/ 462 w 732"/>
                <a:gd name="T17" fmla="*/ 358 h 741"/>
                <a:gd name="T18" fmla="*/ 564 w 732"/>
                <a:gd name="T19" fmla="*/ 358 h 741"/>
                <a:gd name="T20" fmla="*/ 629 w 732"/>
                <a:gd name="T21" fmla="*/ 305 h 741"/>
                <a:gd name="T22" fmla="*/ 694 w 732"/>
                <a:gd name="T23" fmla="*/ 371 h 741"/>
                <a:gd name="T24" fmla="*/ 629 w 732"/>
                <a:gd name="T25" fmla="*/ 436 h 7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32" h="741">
                  <a:moveTo>
                    <a:pt x="0" y="0"/>
                  </a:moveTo>
                  <a:lnTo>
                    <a:pt x="0" y="741"/>
                  </a:lnTo>
                  <a:lnTo>
                    <a:pt x="732" y="741"/>
                  </a:lnTo>
                  <a:lnTo>
                    <a:pt x="732" y="0"/>
                  </a:lnTo>
                  <a:lnTo>
                    <a:pt x="0" y="0"/>
                  </a:lnTo>
                  <a:close/>
                  <a:moveTo>
                    <a:pt x="629" y="436"/>
                  </a:moveTo>
                  <a:cubicBezTo>
                    <a:pt x="597" y="436"/>
                    <a:pt x="570" y="413"/>
                    <a:pt x="564" y="383"/>
                  </a:cubicBezTo>
                  <a:lnTo>
                    <a:pt x="462" y="383"/>
                  </a:lnTo>
                  <a:lnTo>
                    <a:pt x="462" y="358"/>
                  </a:lnTo>
                  <a:lnTo>
                    <a:pt x="564" y="358"/>
                  </a:lnTo>
                  <a:cubicBezTo>
                    <a:pt x="570" y="328"/>
                    <a:pt x="597" y="305"/>
                    <a:pt x="629" y="305"/>
                  </a:cubicBezTo>
                  <a:cubicBezTo>
                    <a:pt x="665" y="305"/>
                    <a:pt x="694" y="334"/>
                    <a:pt x="694" y="371"/>
                  </a:cubicBezTo>
                  <a:cubicBezTo>
                    <a:pt x="694" y="407"/>
                    <a:pt x="665" y="436"/>
                    <a:pt x="629" y="4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Safe">
              <a:extLst>
                <a:ext uri="{FF2B5EF4-FFF2-40B4-BE49-F238E27FC236}">
                  <a16:creationId xmlns:a16="http://schemas.microsoft.com/office/drawing/2014/main" id="{97E12D00-CED2-7277-D42B-73BBB4C6614E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102" y="151"/>
              <a:ext cx="17" cy="7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Safe">
              <a:extLst>
                <a:ext uri="{FF2B5EF4-FFF2-40B4-BE49-F238E27FC236}">
                  <a16:creationId xmlns:a16="http://schemas.microsoft.com/office/drawing/2014/main" id="{A37A7F2A-ED46-8B41-6B70-B5BA7FAD4DC5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102" y="268"/>
              <a:ext cx="17" cy="71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Safe">
              <a:extLst>
                <a:ext uri="{FF2B5EF4-FFF2-40B4-BE49-F238E27FC236}">
                  <a16:creationId xmlns:a16="http://schemas.microsoft.com/office/drawing/2014/main" id="{4B18F9D0-71A6-4C79-EC27-D55A4B9A1C59}"/>
                </a:ext>
              </a:extLst>
            </p:cNvPr>
            <p:cNvSpPr>
              <a:spLocks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41" y="55"/>
              <a:ext cx="413" cy="398"/>
            </a:xfrm>
            <a:custGeom>
              <a:avLst/>
              <a:gdLst>
                <a:gd name="T0" fmla="*/ 1099 w 1099"/>
                <a:gd name="T1" fmla="*/ 0 h 1058"/>
                <a:gd name="T2" fmla="*/ 0 w 1099"/>
                <a:gd name="T3" fmla="*/ 0 h 1058"/>
                <a:gd name="T4" fmla="*/ 0 w 1099"/>
                <a:gd name="T5" fmla="*/ 1011 h 1058"/>
                <a:gd name="T6" fmla="*/ 117 w 1099"/>
                <a:gd name="T7" fmla="*/ 1011 h 1058"/>
                <a:gd name="T8" fmla="*/ 117 w 1099"/>
                <a:gd name="T9" fmla="*/ 1033 h 1058"/>
                <a:gd name="T10" fmla="*/ 142 w 1099"/>
                <a:gd name="T11" fmla="*/ 1058 h 1058"/>
                <a:gd name="T12" fmla="*/ 272 w 1099"/>
                <a:gd name="T13" fmla="*/ 1058 h 1058"/>
                <a:gd name="T14" fmla="*/ 297 w 1099"/>
                <a:gd name="T15" fmla="*/ 1033 h 1058"/>
                <a:gd name="T16" fmla="*/ 297 w 1099"/>
                <a:gd name="T17" fmla="*/ 1011 h 1058"/>
                <a:gd name="T18" fmla="*/ 798 w 1099"/>
                <a:gd name="T19" fmla="*/ 1011 h 1058"/>
                <a:gd name="T20" fmla="*/ 798 w 1099"/>
                <a:gd name="T21" fmla="*/ 1033 h 1058"/>
                <a:gd name="T22" fmla="*/ 823 w 1099"/>
                <a:gd name="T23" fmla="*/ 1058 h 1058"/>
                <a:gd name="T24" fmla="*/ 953 w 1099"/>
                <a:gd name="T25" fmla="*/ 1058 h 1058"/>
                <a:gd name="T26" fmla="*/ 978 w 1099"/>
                <a:gd name="T27" fmla="*/ 1033 h 1058"/>
                <a:gd name="T28" fmla="*/ 978 w 1099"/>
                <a:gd name="T29" fmla="*/ 1011 h 1058"/>
                <a:gd name="T30" fmla="*/ 1099 w 1099"/>
                <a:gd name="T31" fmla="*/ 1011 h 1058"/>
                <a:gd name="T32" fmla="*/ 1099 w 1099"/>
                <a:gd name="T33" fmla="*/ 0 h 1058"/>
                <a:gd name="T34" fmla="*/ 145 w 1099"/>
                <a:gd name="T35" fmla="*/ 97 h 1058"/>
                <a:gd name="T36" fmla="*/ 953 w 1099"/>
                <a:gd name="T37" fmla="*/ 97 h 1058"/>
                <a:gd name="T38" fmla="*/ 953 w 1099"/>
                <a:gd name="T39" fmla="*/ 915 h 1058"/>
                <a:gd name="T40" fmla="*/ 145 w 1099"/>
                <a:gd name="T41" fmla="*/ 915 h 1058"/>
                <a:gd name="T42" fmla="*/ 145 w 1099"/>
                <a:gd name="T43" fmla="*/ 97 h 1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99" h="1058">
                  <a:moveTo>
                    <a:pt x="1099" y="0"/>
                  </a:moveTo>
                  <a:lnTo>
                    <a:pt x="0" y="0"/>
                  </a:lnTo>
                  <a:lnTo>
                    <a:pt x="0" y="1011"/>
                  </a:lnTo>
                  <a:lnTo>
                    <a:pt x="117" y="1011"/>
                  </a:lnTo>
                  <a:lnTo>
                    <a:pt x="117" y="1033"/>
                  </a:lnTo>
                  <a:cubicBezTo>
                    <a:pt x="117" y="1047"/>
                    <a:pt x="128" y="1058"/>
                    <a:pt x="142" y="1058"/>
                  </a:cubicBezTo>
                  <a:lnTo>
                    <a:pt x="272" y="1058"/>
                  </a:lnTo>
                  <a:cubicBezTo>
                    <a:pt x="286" y="1058"/>
                    <a:pt x="297" y="1047"/>
                    <a:pt x="297" y="1033"/>
                  </a:cubicBezTo>
                  <a:lnTo>
                    <a:pt x="297" y="1011"/>
                  </a:lnTo>
                  <a:lnTo>
                    <a:pt x="798" y="1011"/>
                  </a:lnTo>
                  <a:lnTo>
                    <a:pt x="798" y="1033"/>
                  </a:lnTo>
                  <a:cubicBezTo>
                    <a:pt x="798" y="1047"/>
                    <a:pt x="809" y="1058"/>
                    <a:pt x="823" y="1058"/>
                  </a:cubicBezTo>
                  <a:lnTo>
                    <a:pt x="953" y="1058"/>
                  </a:lnTo>
                  <a:cubicBezTo>
                    <a:pt x="967" y="1058"/>
                    <a:pt x="978" y="1047"/>
                    <a:pt x="978" y="1033"/>
                  </a:cubicBezTo>
                  <a:lnTo>
                    <a:pt x="978" y="1011"/>
                  </a:lnTo>
                  <a:lnTo>
                    <a:pt x="1099" y="1011"/>
                  </a:lnTo>
                  <a:lnTo>
                    <a:pt x="1099" y="0"/>
                  </a:lnTo>
                  <a:close/>
                  <a:moveTo>
                    <a:pt x="145" y="97"/>
                  </a:moveTo>
                  <a:lnTo>
                    <a:pt x="953" y="97"/>
                  </a:lnTo>
                  <a:lnTo>
                    <a:pt x="953" y="915"/>
                  </a:lnTo>
                  <a:lnTo>
                    <a:pt x="145" y="915"/>
                  </a:lnTo>
                  <a:lnTo>
                    <a:pt x="145" y="9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5" name="Workflow_automatio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132D72A9-F77F-9F18-D3CE-4B96EF58CE81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8570410" y="3531550"/>
            <a:ext cx="396466" cy="373617"/>
            <a:chOff x="5005388" y="2060575"/>
            <a:chExt cx="1019175" cy="960438"/>
          </a:xfrm>
          <a:solidFill>
            <a:schemeClr val="bg1"/>
          </a:solidFill>
        </p:grpSpPr>
        <p:sp>
          <p:nvSpPr>
            <p:cNvPr id="46" name="Freeform 67">
              <a:extLst>
                <a:ext uri="{FF2B5EF4-FFF2-40B4-BE49-F238E27FC236}">
                  <a16:creationId xmlns:a16="http://schemas.microsoft.com/office/drawing/2014/main" id="{2F4BA0A7-1B91-3CE9-4406-20D29F62F0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46713" y="2417763"/>
              <a:ext cx="400050" cy="400050"/>
            </a:xfrm>
            <a:custGeom>
              <a:avLst/>
              <a:gdLst>
                <a:gd name="T0" fmla="*/ 211 w 664"/>
                <a:gd name="T1" fmla="*/ 394 h 665"/>
                <a:gd name="T2" fmla="*/ 429 w 664"/>
                <a:gd name="T3" fmla="*/ 239 h 665"/>
                <a:gd name="T4" fmla="*/ 427 w 664"/>
                <a:gd name="T5" fmla="*/ 431 h 665"/>
                <a:gd name="T6" fmla="*/ 235 w 664"/>
                <a:gd name="T7" fmla="*/ 429 h 665"/>
                <a:gd name="T8" fmla="*/ 382 w 664"/>
                <a:gd name="T9" fmla="*/ 644 h 665"/>
                <a:gd name="T10" fmla="*/ 416 w 664"/>
                <a:gd name="T11" fmla="*/ 584 h 665"/>
                <a:gd name="T12" fmla="*/ 476 w 664"/>
                <a:gd name="T13" fmla="*/ 573 h 665"/>
                <a:gd name="T14" fmla="*/ 541 w 664"/>
                <a:gd name="T15" fmla="*/ 591 h 665"/>
                <a:gd name="T16" fmla="*/ 585 w 664"/>
                <a:gd name="T17" fmla="*/ 547 h 665"/>
                <a:gd name="T18" fmla="*/ 568 w 664"/>
                <a:gd name="T19" fmla="*/ 481 h 665"/>
                <a:gd name="T20" fmla="*/ 580 w 664"/>
                <a:gd name="T21" fmla="*/ 422 h 665"/>
                <a:gd name="T22" fmla="*/ 642 w 664"/>
                <a:gd name="T23" fmla="*/ 390 h 665"/>
                <a:gd name="T24" fmla="*/ 660 w 664"/>
                <a:gd name="T25" fmla="*/ 374 h 665"/>
                <a:gd name="T26" fmla="*/ 662 w 664"/>
                <a:gd name="T27" fmla="*/ 367 h 665"/>
                <a:gd name="T28" fmla="*/ 664 w 664"/>
                <a:gd name="T29" fmla="*/ 335 h 665"/>
                <a:gd name="T30" fmla="*/ 644 w 664"/>
                <a:gd name="T31" fmla="*/ 283 h 665"/>
                <a:gd name="T32" fmla="*/ 581 w 664"/>
                <a:gd name="T33" fmla="*/ 248 h 665"/>
                <a:gd name="T34" fmla="*/ 566 w 664"/>
                <a:gd name="T35" fmla="*/ 211 h 665"/>
                <a:gd name="T36" fmla="*/ 592 w 664"/>
                <a:gd name="T37" fmla="*/ 153 h 665"/>
                <a:gd name="T38" fmla="*/ 570 w 664"/>
                <a:gd name="T39" fmla="*/ 101 h 665"/>
                <a:gd name="T40" fmla="*/ 517 w 664"/>
                <a:gd name="T41" fmla="*/ 77 h 665"/>
                <a:gd name="T42" fmla="*/ 448 w 664"/>
                <a:gd name="T43" fmla="*/ 97 h 665"/>
                <a:gd name="T44" fmla="*/ 401 w 664"/>
                <a:gd name="T45" fmla="*/ 64 h 665"/>
                <a:gd name="T46" fmla="*/ 367 w 664"/>
                <a:gd name="T47" fmla="*/ 3 h 665"/>
                <a:gd name="T48" fmla="*/ 305 w 664"/>
                <a:gd name="T49" fmla="*/ 2 h 665"/>
                <a:gd name="T50" fmla="*/ 269 w 664"/>
                <a:gd name="T51" fmla="*/ 63 h 665"/>
                <a:gd name="T52" fmla="*/ 221 w 664"/>
                <a:gd name="T53" fmla="*/ 95 h 665"/>
                <a:gd name="T54" fmla="*/ 152 w 664"/>
                <a:gd name="T55" fmla="*/ 73 h 665"/>
                <a:gd name="T56" fmla="*/ 100 w 664"/>
                <a:gd name="T57" fmla="*/ 95 h 665"/>
                <a:gd name="T58" fmla="*/ 76 w 664"/>
                <a:gd name="T59" fmla="*/ 148 h 665"/>
                <a:gd name="T60" fmla="*/ 96 w 664"/>
                <a:gd name="T61" fmla="*/ 217 h 665"/>
                <a:gd name="T62" fmla="*/ 63 w 664"/>
                <a:gd name="T63" fmla="*/ 264 h 665"/>
                <a:gd name="T64" fmla="*/ 6 w 664"/>
                <a:gd name="T65" fmla="*/ 288 h 665"/>
                <a:gd name="T66" fmla="*/ 4 w 664"/>
                <a:gd name="T67" fmla="*/ 291 h 665"/>
                <a:gd name="T68" fmla="*/ 3 w 664"/>
                <a:gd name="T69" fmla="*/ 294 h 665"/>
                <a:gd name="T70" fmla="*/ 0 w 664"/>
                <a:gd name="T71" fmla="*/ 328 h 665"/>
                <a:gd name="T72" fmla="*/ 20 w 664"/>
                <a:gd name="T73" fmla="*/ 383 h 665"/>
                <a:gd name="T74" fmla="*/ 82 w 664"/>
                <a:gd name="T75" fmla="*/ 417 h 665"/>
                <a:gd name="T76" fmla="*/ 98 w 664"/>
                <a:gd name="T77" fmla="*/ 455 h 665"/>
                <a:gd name="T78" fmla="*/ 72 w 664"/>
                <a:gd name="T79" fmla="*/ 512 h 665"/>
                <a:gd name="T80" fmla="*/ 95 w 664"/>
                <a:gd name="T81" fmla="*/ 566 h 665"/>
                <a:gd name="T82" fmla="*/ 147 w 664"/>
                <a:gd name="T83" fmla="*/ 589 h 665"/>
                <a:gd name="T84" fmla="*/ 214 w 664"/>
                <a:gd name="T85" fmla="*/ 569 h 665"/>
                <a:gd name="T86" fmla="*/ 264 w 664"/>
                <a:gd name="T87" fmla="*/ 604 h 665"/>
                <a:gd name="T88" fmla="*/ 297 w 664"/>
                <a:gd name="T89" fmla="*/ 663 h 665"/>
                <a:gd name="T90" fmla="*/ 360 w 664"/>
                <a:gd name="T91" fmla="*/ 663 h 6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664" h="665">
                  <a:moveTo>
                    <a:pt x="235" y="429"/>
                  </a:moveTo>
                  <a:cubicBezTo>
                    <a:pt x="225" y="418"/>
                    <a:pt x="217" y="407"/>
                    <a:pt x="211" y="394"/>
                  </a:cubicBezTo>
                  <a:cubicBezTo>
                    <a:pt x="184" y="341"/>
                    <a:pt x="195" y="278"/>
                    <a:pt x="237" y="237"/>
                  </a:cubicBezTo>
                  <a:cubicBezTo>
                    <a:pt x="291" y="184"/>
                    <a:pt x="377" y="185"/>
                    <a:pt x="429" y="239"/>
                  </a:cubicBezTo>
                  <a:cubicBezTo>
                    <a:pt x="439" y="249"/>
                    <a:pt x="448" y="261"/>
                    <a:pt x="454" y="274"/>
                  </a:cubicBezTo>
                  <a:cubicBezTo>
                    <a:pt x="480" y="326"/>
                    <a:pt x="469" y="390"/>
                    <a:pt x="427" y="431"/>
                  </a:cubicBezTo>
                  <a:cubicBezTo>
                    <a:pt x="401" y="456"/>
                    <a:pt x="367" y="470"/>
                    <a:pt x="331" y="469"/>
                  </a:cubicBezTo>
                  <a:cubicBezTo>
                    <a:pt x="294" y="469"/>
                    <a:pt x="261" y="455"/>
                    <a:pt x="235" y="429"/>
                  </a:cubicBezTo>
                  <a:close/>
                  <a:moveTo>
                    <a:pt x="360" y="663"/>
                  </a:moveTo>
                  <a:cubicBezTo>
                    <a:pt x="369" y="662"/>
                    <a:pt x="379" y="653"/>
                    <a:pt x="382" y="644"/>
                  </a:cubicBezTo>
                  <a:lnTo>
                    <a:pt x="394" y="605"/>
                  </a:lnTo>
                  <a:cubicBezTo>
                    <a:pt x="397" y="596"/>
                    <a:pt x="407" y="587"/>
                    <a:pt x="416" y="584"/>
                  </a:cubicBezTo>
                  <a:cubicBezTo>
                    <a:pt x="426" y="580"/>
                    <a:pt x="435" y="577"/>
                    <a:pt x="445" y="572"/>
                  </a:cubicBezTo>
                  <a:cubicBezTo>
                    <a:pt x="454" y="568"/>
                    <a:pt x="467" y="568"/>
                    <a:pt x="476" y="573"/>
                  </a:cubicBezTo>
                  <a:lnTo>
                    <a:pt x="511" y="592"/>
                  </a:lnTo>
                  <a:cubicBezTo>
                    <a:pt x="520" y="597"/>
                    <a:pt x="533" y="597"/>
                    <a:pt x="541" y="591"/>
                  </a:cubicBezTo>
                  <a:cubicBezTo>
                    <a:pt x="549" y="584"/>
                    <a:pt x="557" y="577"/>
                    <a:pt x="565" y="569"/>
                  </a:cubicBezTo>
                  <a:cubicBezTo>
                    <a:pt x="572" y="562"/>
                    <a:pt x="579" y="555"/>
                    <a:pt x="585" y="547"/>
                  </a:cubicBezTo>
                  <a:cubicBezTo>
                    <a:pt x="591" y="540"/>
                    <a:pt x="592" y="527"/>
                    <a:pt x="588" y="518"/>
                  </a:cubicBezTo>
                  <a:lnTo>
                    <a:pt x="568" y="481"/>
                  </a:lnTo>
                  <a:cubicBezTo>
                    <a:pt x="564" y="473"/>
                    <a:pt x="564" y="459"/>
                    <a:pt x="569" y="450"/>
                  </a:cubicBezTo>
                  <a:cubicBezTo>
                    <a:pt x="573" y="441"/>
                    <a:pt x="577" y="432"/>
                    <a:pt x="580" y="422"/>
                  </a:cubicBezTo>
                  <a:cubicBezTo>
                    <a:pt x="584" y="413"/>
                    <a:pt x="593" y="404"/>
                    <a:pt x="603" y="401"/>
                  </a:cubicBezTo>
                  <a:lnTo>
                    <a:pt x="642" y="390"/>
                  </a:lnTo>
                  <a:cubicBezTo>
                    <a:pt x="649" y="388"/>
                    <a:pt x="656" y="381"/>
                    <a:pt x="660" y="374"/>
                  </a:cubicBezTo>
                  <a:cubicBezTo>
                    <a:pt x="660" y="374"/>
                    <a:pt x="660" y="374"/>
                    <a:pt x="660" y="374"/>
                  </a:cubicBezTo>
                  <a:cubicBezTo>
                    <a:pt x="660" y="373"/>
                    <a:pt x="661" y="372"/>
                    <a:pt x="661" y="371"/>
                  </a:cubicBezTo>
                  <a:cubicBezTo>
                    <a:pt x="661" y="370"/>
                    <a:pt x="662" y="369"/>
                    <a:pt x="662" y="367"/>
                  </a:cubicBezTo>
                  <a:cubicBezTo>
                    <a:pt x="662" y="365"/>
                    <a:pt x="662" y="362"/>
                    <a:pt x="663" y="360"/>
                  </a:cubicBezTo>
                  <a:cubicBezTo>
                    <a:pt x="663" y="352"/>
                    <a:pt x="664" y="344"/>
                    <a:pt x="664" y="335"/>
                  </a:cubicBezTo>
                  <a:cubicBezTo>
                    <a:pt x="664" y="325"/>
                    <a:pt x="664" y="315"/>
                    <a:pt x="663" y="305"/>
                  </a:cubicBezTo>
                  <a:cubicBezTo>
                    <a:pt x="662" y="296"/>
                    <a:pt x="653" y="286"/>
                    <a:pt x="644" y="283"/>
                  </a:cubicBezTo>
                  <a:lnTo>
                    <a:pt x="603" y="270"/>
                  </a:lnTo>
                  <a:cubicBezTo>
                    <a:pt x="594" y="267"/>
                    <a:pt x="585" y="257"/>
                    <a:pt x="581" y="248"/>
                  </a:cubicBezTo>
                  <a:cubicBezTo>
                    <a:pt x="578" y="238"/>
                    <a:pt x="574" y="227"/>
                    <a:pt x="569" y="217"/>
                  </a:cubicBezTo>
                  <a:cubicBezTo>
                    <a:pt x="568" y="215"/>
                    <a:pt x="567" y="213"/>
                    <a:pt x="566" y="211"/>
                  </a:cubicBezTo>
                  <a:cubicBezTo>
                    <a:pt x="564" y="208"/>
                    <a:pt x="566" y="199"/>
                    <a:pt x="571" y="191"/>
                  </a:cubicBezTo>
                  <a:lnTo>
                    <a:pt x="592" y="153"/>
                  </a:lnTo>
                  <a:cubicBezTo>
                    <a:pt x="597" y="145"/>
                    <a:pt x="596" y="131"/>
                    <a:pt x="590" y="124"/>
                  </a:cubicBezTo>
                  <a:cubicBezTo>
                    <a:pt x="584" y="116"/>
                    <a:pt x="577" y="108"/>
                    <a:pt x="570" y="101"/>
                  </a:cubicBezTo>
                  <a:cubicBezTo>
                    <a:pt x="562" y="93"/>
                    <a:pt x="554" y="86"/>
                    <a:pt x="546" y="79"/>
                  </a:cubicBezTo>
                  <a:cubicBezTo>
                    <a:pt x="539" y="73"/>
                    <a:pt x="525" y="72"/>
                    <a:pt x="517" y="77"/>
                  </a:cubicBezTo>
                  <a:lnTo>
                    <a:pt x="479" y="97"/>
                  </a:lnTo>
                  <a:cubicBezTo>
                    <a:pt x="470" y="102"/>
                    <a:pt x="457" y="101"/>
                    <a:pt x="448" y="97"/>
                  </a:cubicBezTo>
                  <a:cubicBezTo>
                    <a:pt x="439" y="93"/>
                    <a:pt x="431" y="89"/>
                    <a:pt x="422" y="86"/>
                  </a:cubicBezTo>
                  <a:cubicBezTo>
                    <a:pt x="413" y="83"/>
                    <a:pt x="404" y="73"/>
                    <a:pt x="401" y="64"/>
                  </a:cubicBezTo>
                  <a:lnTo>
                    <a:pt x="389" y="22"/>
                  </a:lnTo>
                  <a:cubicBezTo>
                    <a:pt x="386" y="13"/>
                    <a:pt x="376" y="4"/>
                    <a:pt x="367" y="3"/>
                  </a:cubicBezTo>
                  <a:cubicBezTo>
                    <a:pt x="356" y="1"/>
                    <a:pt x="346" y="1"/>
                    <a:pt x="335" y="1"/>
                  </a:cubicBezTo>
                  <a:cubicBezTo>
                    <a:pt x="325" y="0"/>
                    <a:pt x="315" y="1"/>
                    <a:pt x="305" y="2"/>
                  </a:cubicBezTo>
                  <a:cubicBezTo>
                    <a:pt x="295" y="3"/>
                    <a:pt x="285" y="11"/>
                    <a:pt x="282" y="20"/>
                  </a:cubicBezTo>
                  <a:lnTo>
                    <a:pt x="269" y="63"/>
                  </a:lnTo>
                  <a:cubicBezTo>
                    <a:pt x="266" y="72"/>
                    <a:pt x="256" y="81"/>
                    <a:pt x="247" y="84"/>
                  </a:cubicBezTo>
                  <a:cubicBezTo>
                    <a:pt x="238" y="87"/>
                    <a:pt x="230" y="91"/>
                    <a:pt x="221" y="95"/>
                  </a:cubicBezTo>
                  <a:cubicBezTo>
                    <a:pt x="213" y="99"/>
                    <a:pt x="199" y="99"/>
                    <a:pt x="191" y="94"/>
                  </a:cubicBezTo>
                  <a:lnTo>
                    <a:pt x="152" y="73"/>
                  </a:lnTo>
                  <a:cubicBezTo>
                    <a:pt x="144" y="68"/>
                    <a:pt x="131" y="69"/>
                    <a:pt x="123" y="75"/>
                  </a:cubicBezTo>
                  <a:cubicBezTo>
                    <a:pt x="115" y="81"/>
                    <a:pt x="108" y="88"/>
                    <a:pt x="100" y="95"/>
                  </a:cubicBezTo>
                  <a:cubicBezTo>
                    <a:pt x="93" y="102"/>
                    <a:pt x="85" y="110"/>
                    <a:pt x="79" y="118"/>
                  </a:cubicBezTo>
                  <a:cubicBezTo>
                    <a:pt x="73" y="126"/>
                    <a:pt x="72" y="139"/>
                    <a:pt x="76" y="148"/>
                  </a:cubicBezTo>
                  <a:lnTo>
                    <a:pt x="96" y="186"/>
                  </a:lnTo>
                  <a:cubicBezTo>
                    <a:pt x="101" y="194"/>
                    <a:pt x="100" y="208"/>
                    <a:pt x="96" y="217"/>
                  </a:cubicBezTo>
                  <a:cubicBezTo>
                    <a:pt x="92" y="225"/>
                    <a:pt x="88" y="234"/>
                    <a:pt x="85" y="243"/>
                  </a:cubicBezTo>
                  <a:cubicBezTo>
                    <a:pt x="82" y="252"/>
                    <a:pt x="72" y="261"/>
                    <a:pt x="63" y="264"/>
                  </a:cubicBezTo>
                  <a:lnTo>
                    <a:pt x="21" y="276"/>
                  </a:lnTo>
                  <a:cubicBezTo>
                    <a:pt x="15" y="278"/>
                    <a:pt x="9" y="282"/>
                    <a:pt x="6" y="288"/>
                  </a:cubicBezTo>
                  <a:cubicBezTo>
                    <a:pt x="5" y="288"/>
                    <a:pt x="6" y="288"/>
                    <a:pt x="5" y="288"/>
                  </a:cubicBezTo>
                  <a:cubicBezTo>
                    <a:pt x="5" y="289"/>
                    <a:pt x="4" y="290"/>
                    <a:pt x="4" y="291"/>
                  </a:cubicBezTo>
                  <a:cubicBezTo>
                    <a:pt x="4" y="292"/>
                    <a:pt x="4" y="292"/>
                    <a:pt x="3" y="292"/>
                  </a:cubicBezTo>
                  <a:cubicBezTo>
                    <a:pt x="3" y="293"/>
                    <a:pt x="3" y="294"/>
                    <a:pt x="3" y="294"/>
                  </a:cubicBezTo>
                  <a:cubicBezTo>
                    <a:pt x="2" y="296"/>
                    <a:pt x="2" y="297"/>
                    <a:pt x="2" y="298"/>
                  </a:cubicBezTo>
                  <a:cubicBezTo>
                    <a:pt x="1" y="308"/>
                    <a:pt x="0" y="318"/>
                    <a:pt x="0" y="328"/>
                  </a:cubicBezTo>
                  <a:cubicBezTo>
                    <a:pt x="0" y="339"/>
                    <a:pt x="0" y="350"/>
                    <a:pt x="1" y="360"/>
                  </a:cubicBezTo>
                  <a:cubicBezTo>
                    <a:pt x="2" y="370"/>
                    <a:pt x="11" y="380"/>
                    <a:pt x="20" y="383"/>
                  </a:cubicBezTo>
                  <a:lnTo>
                    <a:pt x="61" y="395"/>
                  </a:lnTo>
                  <a:cubicBezTo>
                    <a:pt x="70" y="398"/>
                    <a:pt x="79" y="408"/>
                    <a:pt x="82" y="417"/>
                  </a:cubicBezTo>
                  <a:cubicBezTo>
                    <a:pt x="86" y="428"/>
                    <a:pt x="90" y="440"/>
                    <a:pt x="96" y="451"/>
                  </a:cubicBezTo>
                  <a:cubicBezTo>
                    <a:pt x="97" y="452"/>
                    <a:pt x="97" y="454"/>
                    <a:pt x="98" y="455"/>
                  </a:cubicBezTo>
                  <a:cubicBezTo>
                    <a:pt x="100" y="458"/>
                    <a:pt x="97" y="467"/>
                    <a:pt x="92" y="475"/>
                  </a:cubicBezTo>
                  <a:lnTo>
                    <a:pt x="72" y="512"/>
                  </a:lnTo>
                  <a:cubicBezTo>
                    <a:pt x="67" y="520"/>
                    <a:pt x="68" y="534"/>
                    <a:pt x="74" y="541"/>
                  </a:cubicBezTo>
                  <a:cubicBezTo>
                    <a:pt x="81" y="550"/>
                    <a:pt x="88" y="558"/>
                    <a:pt x="95" y="566"/>
                  </a:cubicBezTo>
                  <a:cubicBezTo>
                    <a:pt x="102" y="573"/>
                    <a:pt x="110" y="580"/>
                    <a:pt x="117" y="586"/>
                  </a:cubicBezTo>
                  <a:cubicBezTo>
                    <a:pt x="125" y="592"/>
                    <a:pt x="138" y="593"/>
                    <a:pt x="147" y="589"/>
                  </a:cubicBezTo>
                  <a:lnTo>
                    <a:pt x="183" y="569"/>
                  </a:lnTo>
                  <a:cubicBezTo>
                    <a:pt x="192" y="565"/>
                    <a:pt x="205" y="565"/>
                    <a:pt x="214" y="569"/>
                  </a:cubicBezTo>
                  <a:cubicBezTo>
                    <a:pt x="223" y="574"/>
                    <a:pt x="233" y="578"/>
                    <a:pt x="243" y="582"/>
                  </a:cubicBezTo>
                  <a:cubicBezTo>
                    <a:pt x="252" y="585"/>
                    <a:pt x="261" y="595"/>
                    <a:pt x="264" y="604"/>
                  </a:cubicBezTo>
                  <a:lnTo>
                    <a:pt x="275" y="643"/>
                  </a:lnTo>
                  <a:cubicBezTo>
                    <a:pt x="278" y="653"/>
                    <a:pt x="288" y="662"/>
                    <a:pt x="297" y="663"/>
                  </a:cubicBezTo>
                  <a:cubicBezTo>
                    <a:pt x="307" y="664"/>
                    <a:pt x="317" y="664"/>
                    <a:pt x="327" y="665"/>
                  </a:cubicBezTo>
                  <a:cubicBezTo>
                    <a:pt x="338" y="665"/>
                    <a:pt x="349" y="664"/>
                    <a:pt x="360" y="66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Freeform 68">
              <a:extLst>
                <a:ext uri="{FF2B5EF4-FFF2-40B4-BE49-F238E27FC236}">
                  <a16:creationId xmlns:a16="http://schemas.microsoft.com/office/drawing/2014/main" id="{6C1521A3-0A1E-718B-EEA5-95ABD67FC9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73663" y="2343150"/>
              <a:ext cx="290513" cy="292100"/>
            </a:xfrm>
            <a:custGeom>
              <a:avLst/>
              <a:gdLst>
                <a:gd name="T0" fmla="*/ 180 w 484"/>
                <a:gd name="T1" fmla="*/ 303 h 485"/>
                <a:gd name="T2" fmla="*/ 182 w 484"/>
                <a:gd name="T3" fmla="*/ 179 h 485"/>
                <a:gd name="T4" fmla="*/ 307 w 484"/>
                <a:gd name="T5" fmla="*/ 180 h 485"/>
                <a:gd name="T6" fmla="*/ 305 w 484"/>
                <a:gd name="T7" fmla="*/ 305 h 485"/>
                <a:gd name="T8" fmla="*/ 437 w 484"/>
                <a:gd name="T9" fmla="*/ 96 h 485"/>
                <a:gd name="T10" fmla="*/ 393 w 484"/>
                <a:gd name="T11" fmla="*/ 52 h 485"/>
                <a:gd name="T12" fmla="*/ 337 w 484"/>
                <a:gd name="T13" fmla="*/ 64 h 485"/>
                <a:gd name="T14" fmla="*/ 281 w 484"/>
                <a:gd name="T15" fmla="*/ 59 h 485"/>
                <a:gd name="T16" fmla="*/ 239 w 484"/>
                <a:gd name="T17" fmla="*/ 14 h 485"/>
                <a:gd name="T18" fmla="*/ 183 w 484"/>
                <a:gd name="T19" fmla="*/ 7 h 485"/>
                <a:gd name="T20" fmla="*/ 136 w 484"/>
                <a:gd name="T21" fmla="*/ 41 h 485"/>
                <a:gd name="T22" fmla="*/ 123 w 484"/>
                <a:gd name="T23" fmla="*/ 99 h 485"/>
                <a:gd name="T24" fmla="*/ 102 w 484"/>
                <a:gd name="T25" fmla="*/ 119 h 485"/>
                <a:gd name="T26" fmla="*/ 43 w 484"/>
                <a:gd name="T27" fmla="*/ 131 h 485"/>
                <a:gd name="T28" fmla="*/ 23 w 484"/>
                <a:gd name="T29" fmla="*/ 141 h 485"/>
                <a:gd name="T30" fmla="*/ 21 w 484"/>
                <a:gd name="T31" fmla="*/ 144 h 485"/>
                <a:gd name="T32" fmla="*/ 19 w 484"/>
                <a:gd name="T33" fmla="*/ 148 h 485"/>
                <a:gd name="T34" fmla="*/ 2 w 484"/>
                <a:gd name="T35" fmla="*/ 208 h 485"/>
                <a:gd name="T36" fmla="*/ 43 w 484"/>
                <a:gd name="T37" fmla="*/ 252 h 485"/>
                <a:gd name="T38" fmla="*/ 65 w 484"/>
                <a:gd name="T39" fmla="*/ 298 h 485"/>
                <a:gd name="T40" fmla="*/ 47 w 484"/>
                <a:gd name="T41" fmla="*/ 360 h 485"/>
                <a:gd name="T42" fmla="*/ 70 w 484"/>
                <a:gd name="T43" fmla="*/ 413 h 485"/>
                <a:gd name="T44" fmla="*/ 121 w 484"/>
                <a:gd name="T45" fmla="*/ 436 h 485"/>
                <a:gd name="T46" fmla="*/ 183 w 484"/>
                <a:gd name="T47" fmla="*/ 419 h 485"/>
                <a:gd name="T48" fmla="*/ 229 w 484"/>
                <a:gd name="T49" fmla="*/ 442 h 485"/>
                <a:gd name="T50" fmla="*/ 272 w 484"/>
                <a:gd name="T51" fmla="*/ 484 h 485"/>
                <a:gd name="T52" fmla="*/ 333 w 484"/>
                <a:gd name="T53" fmla="*/ 469 h 485"/>
                <a:gd name="T54" fmla="*/ 351 w 484"/>
                <a:gd name="T55" fmla="*/ 412 h 485"/>
                <a:gd name="T56" fmla="*/ 374 w 484"/>
                <a:gd name="T57" fmla="*/ 375 h 485"/>
                <a:gd name="T58" fmla="*/ 410 w 484"/>
                <a:gd name="T59" fmla="*/ 355 h 485"/>
                <a:gd name="T60" fmla="*/ 452 w 484"/>
                <a:gd name="T61" fmla="*/ 352 h 485"/>
                <a:gd name="T62" fmla="*/ 460 w 484"/>
                <a:gd name="T63" fmla="*/ 346 h 485"/>
                <a:gd name="T64" fmla="*/ 464 w 484"/>
                <a:gd name="T65" fmla="*/ 343 h 485"/>
                <a:gd name="T66" fmla="*/ 466 w 484"/>
                <a:gd name="T67" fmla="*/ 338 h 485"/>
                <a:gd name="T68" fmla="*/ 483 w 484"/>
                <a:gd name="T69" fmla="*/ 278 h 485"/>
                <a:gd name="T70" fmla="*/ 483 w 484"/>
                <a:gd name="T71" fmla="*/ 272 h 485"/>
                <a:gd name="T72" fmla="*/ 483 w 484"/>
                <a:gd name="T73" fmla="*/ 268 h 485"/>
                <a:gd name="T74" fmla="*/ 482 w 484"/>
                <a:gd name="T75" fmla="*/ 265 h 485"/>
                <a:gd name="T76" fmla="*/ 445 w 484"/>
                <a:gd name="T77" fmla="*/ 235 h 485"/>
                <a:gd name="T78" fmla="*/ 421 w 484"/>
                <a:gd name="T79" fmla="*/ 184 h 485"/>
                <a:gd name="T80" fmla="*/ 439 w 484"/>
                <a:gd name="T81" fmla="*/ 125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84" h="485">
                  <a:moveTo>
                    <a:pt x="305" y="305"/>
                  </a:moveTo>
                  <a:cubicBezTo>
                    <a:pt x="270" y="339"/>
                    <a:pt x="215" y="338"/>
                    <a:pt x="180" y="303"/>
                  </a:cubicBezTo>
                  <a:cubicBezTo>
                    <a:pt x="174" y="297"/>
                    <a:pt x="169" y="289"/>
                    <a:pt x="164" y="281"/>
                  </a:cubicBezTo>
                  <a:cubicBezTo>
                    <a:pt x="147" y="247"/>
                    <a:pt x="155" y="206"/>
                    <a:pt x="182" y="179"/>
                  </a:cubicBezTo>
                  <a:cubicBezTo>
                    <a:pt x="199" y="162"/>
                    <a:pt x="221" y="153"/>
                    <a:pt x="244" y="154"/>
                  </a:cubicBezTo>
                  <a:cubicBezTo>
                    <a:pt x="268" y="154"/>
                    <a:pt x="290" y="163"/>
                    <a:pt x="307" y="180"/>
                  </a:cubicBezTo>
                  <a:cubicBezTo>
                    <a:pt x="313" y="187"/>
                    <a:pt x="319" y="194"/>
                    <a:pt x="323" y="203"/>
                  </a:cubicBezTo>
                  <a:cubicBezTo>
                    <a:pt x="340" y="237"/>
                    <a:pt x="333" y="278"/>
                    <a:pt x="305" y="305"/>
                  </a:cubicBezTo>
                  <a:close/>
                  <a:moveTo>
                    <a:pt x="439" y="125"/>
                  </a:moveTo>
                  <a:cubicBezTo>
                    <a:pt x="444" y="117"/>
                    <a:pt x="443" y="104"/>
                    <a:pt x="437" y="96"/>
                  </a:cubicBezTo>
                  <a:cubicBezTo>
                    <a:pt x="431" y="88"/>
                    <a:pt x="424" y="81"/>
                    <a:pt x="417" y="74"/>
                  </a:cubicBezTo>
                  <a:cubicBezTo>
                    <a:pt x="409" y="66"/>
                    <a:pt x="401" y="59"/>
                    <a:pt x="393" y="52"/>
                  </a:cubicBezTo>
                  <a:cubicBezTo>
                    <a:pt x="386" y="46"/>
                    <a:pt x="372" y="45"/>
                    <a:pt x="364" y="49"/>
                  </a:cubicBezTo>
                  <a:lnTo>
                    <a:pt x="337" y="64"/>
                  </a:lnTo>
                  <a:cubicBezTo>
                    <a:pt x="328" y="68"/>
                    <a:pt x="314" y="68"/>
                    <a:pt x="305" y="65"/>
                  </a:cubicBezTo>
                  <a:cubicBezTo>
                    <a:pt x="297" y="62"/>
                    <a:pt x="289" y="60"/>
                    <a:pt x="281" y="59"/>
                  </a:cubicBezTo>
                  <a:cubicBezTo>
                    <a:pt x="272" y="57"/>
                    <a:pt x="260" y="49"/>
                    <a:pt x="255" y="41"/>
                  </a:cubicBezTo>
                  <a:lnTo>
                    <a:pt x="239" y="14"/>
                  </a:lnTo>
                  <a:cubicBezTo>
                    <a:pt x="234" y="6"/>
                    <a:pt x="222" y="0"/>
                    <a:pt x="213" y="1"/>
                  </a:cubicBezTo>
                  <a:cubicBezTo>
                    <a:pt x="203" y="3"/>
                    <a:pt x="193" y="5"/>
                    <a:pt x="183" y="7"/>
                  </a:cubicBezTo>
                  <a:cubicBezTo>
                    <a:pt x="173" y="10"/>
                    <a:pt x="162" y="13"/>
                    <a:pt x="152" y="17"/>
                  </a:cubicBezTo>
                  <a:cubicBezTo>
                    <a:pt x="143" y="20"/>
                    <a:pt x="136" y="31"/>
                    <a:pt x="136" y="41"/>
                  </a:cubicBezTo>
                  <a:lnTo>
                    <a:pt x="134" y="73"/>
                  </a:lnTo>
                  <a:cubicBezTo>
                    <a:pt x="134" y="83"/>
                    <a:pt x="129" y="94"/>
                    <a:pt x="123" y="99"/>
                  </a:cubicBezTo>
                  <a:cubicBezTo>
                    <a:pt x="119" y="102"/>
                    <a:pt x="116" y="105"/>
                    <a:pt x="113" y="108"/>
                  </a:cubicBezTo>
                  <a:cubicBezTo>
                    <a:pt x="109" y="112"/>
                    <a:pt x="106" y="115"/>
                    <a:pt x="102" y="119"/>
                  </a:cubicBezTo>
                  <a:cubicBezTo>
                    <a:pt x="97" y="125"/>
                    <a:pt x="85" y="131"/>
                    <a:pt x="76" y="131"/>
                  </a:cubicBezTo>
                  <a:lnTo>
                    <a:pt x="43" y="131"/>
                  </a:lnTo>
                  <a:cubicBezTo>
                    <a:pt x="36" y="132"/>
                    <a:pt x="29" y="135"/>
                    <a:pt x="24" y="140"/>
                  </a:cubicBezTo>
                  <a:cubicBezTo>
                    <a:pt x="24" y="140"/>
                    <a:pt x="23" y="141"/>
                    <a:pt x="23" y="141"/>
                  </a:cubicBezTo>
                  <a:cubicBezTo>
                    <a:pt x="23" y="141"/>
                    <a:pt x="22" y="142"/>
                    <a:pt x="22" y="142"/>
                  </a:cubicBezTo>
                  <a:cubicBezTo>
                    <a:pt x="22" y="143"/>
                    <a:pt x="21" y="143"/>
                    <a:pt x="21" y="144"/>
                  </a:cubicBezTo>
                  <a:cubicBezTo>
                    <a:pt x="21" y="144"/>
                    <a:pt x="20" y="145"/>
                    <a:pt x="20" y="145"/>
                  </a:cubicBezTo>
                  <a:cubicBezTo>
                    <a:pt x="19" y="146"/>
                    <a:pt x="19" y="147"/>
                    <a:pt x="19" y="148"/>
                  </a:cubicBezTo>
                  <a:cubicBezTo>
                    <a:pt x="15" y="157"/>
                    <a:pt x="12" y="167"/>
                    <a:pt x="9" y="176"/>
                  </a:cubicBezTo>
                  <a:cubicBezTo>
                    <a:pt x="6" y="187"/>
                    <a:pt x="4" y="197"/>
                    <a:pt x="2" y="208"/>
                  </a:cubicBezTo>
                  <a:cubicBezTo>
                    <a:pt x="0" y="217"/>
                    <a:pt x="6" y="229"/>
                    <a:pt x="14" y="235"/>
                  </a:cubicBezTo>
                  <a:lnTo>
                    <a:pt x="43" y="252"/>
                  </a:lnTo>
                  <a:cubicBezTo>
                    <a:pt x="51" y="258"/>
                    <a:pt x="58" y="269"/>
                    <a:pt x="60" y="279"/>
                  </a:cubicBezTo>
                  <a:cubicBezTo>
                    <a:pt x="62" y="285"/>
                    <a:pt x="63" y="292"/>
                    <a:pt x="65" y="298"/>
                  </a:cubicBezTo>
                  <a:cubicBezTo>
                    <a:pt x="68" y="308"/>
                    <a:pt x="68" y="322"/>
                    <a:pt x="63" y="330"/>
                  </a:cubicBezTo>
                  <a:lnTo>
                    <a:pt x="47" y="360"/>
                  </a:lnTo>
                  <a:cubicBezTo>
                    <a:pt x="42" y="368"/>
                    <a:pt x="42" y="381"/>
                    <a:pt x="48" y="389"/>
                  </a:cubicBezTo>
                  <a:cubicBezTo>
                    <a:pt x="55" y="397"/>
                    <a:pt x="62" y="405"/>
                    <a:pt x="70" y="413"/>
                  </a:cubicBezTo>
                  <a:cubicBezTo>
                    <a:pt x="77" y="420"/>
                    <a:pt x="84" y="427"/>
                    <a:pt x="92" y="434"/>
                  </a:cubicBezTo>
                  <a:cubicBezTo>
                    <a:pt x="99" y="440"/>
                    <a:pt x="112" y="441"/>
                    <a:pt x="121" y="436"/>
                  </a:cubicBezTo>
                  <a:lnTo>
                    <a:pt x="151" y="420"/>
                  </a:lnTo>
                  <a:cubicBezTo>
                    <a:pt x="160" y="416"/>
                    <a:pt x="174" y="416"/>
                    <a:pt x="183" y="419"/>
                  </a:cubicBezTo>
                  <a:cubicBezTo>
                    <a:pt x="189" y="421"/>
                    <a:pt x="196" y="423"/>
                    <a:pt x="202" y="424"/>
                  </a:cubicBezTo>
                  <a:cubicBezTo>
                    <a:pt x="212" y="426"/>
                    <a:pt x="224" y="434"/>
                    <a:pt x="229" y="442"/>
                  </a:cubicBezTo>
                  <a:lnTo>
                    <a:pt x="246" y="471"/>
                  </a:lnTo>
                  <a:cubicBezTo>
                    <a:pt x="251" y="479"/>
                    <a:pt x="263" y="485"/>
                    <a:pt x="272" y="484"/>
                  </a:cubicBezTo>
                  <a:cubicBezTo>
                    <a:pt x="283" y="483"/>
                    <a:pt x="293" y="480"/>
                    <a:pt x="304" y="478"/>
                  </a:cubicBezTo>
                  <a:cubicBezTo>
                    <a:pt x="314" y="475"/>
                    <a:pt x="323" y="472"/>
                    <a:pt x="333" y="469"/>
                  </a:cubicBezTo>
                  <a:cubicBezTo>
                    <a:pt x="342" y="465"/>
                    <a:pt x="349" y="454"/>
                    <a:pt x="349" y="445"/>
                  </a:cubicBezTo>
                  <a:lnTo>
                    <a:pt x="351" y="412"/>
                  </a:lnTo>
                  <a:cubicBezTo>
                    <a:pt x="351" y="402"/>
                    <a:pt x="357" y="391"/>
                    <a:pt x="363" y="385"/>
                  </a:cubicBezTo>
                  <a:cubicBezTo>
                    <a:pt x="367" y="382"/>
                    <a:pt x="371" y="379"/>
                    <a:pt x="374" y="375"/>
                  </a:cubicBezTo>
                  <a:cubicBezTo>
                    <a:pt x="378" y="372"/>
                    <a:pt x="381" y="369"/>
                    <a:pt x="384" y="366"/>
                  </a:cubicBezTo>
                  <a:cubicBezTo>
                    <a:pt x="389" y="360"/>
                    <a:pt x="400" y="355"/>
                    <a:pt x="410" y="355"/>
                  </a:cubicBezTo>
                  <a:lnTo>
                    <a:pt x="442" y="354"/>
                  </a:lnTo>
                  <a:cubicBezTo>
                    <a:pt x="445" y="354"/>
                    <a:pt x="449" y="353"/>
                    <a:pt x="452" y="352"/>
                  </a:cubicBezTo>
                  <a:lnTo>
                    <a:pt x="452" y="352"/>
                  </a:lnTo>
                  <a:cubicBezTo>
                    <a:pt x="455" y="350"/>
                    <a:pt x="458" y="348"/>
                    <a:pt x="460" y="346"/>
                  </a:cubicBezTo>
                  <a:cubicBezTo>
                    <a:pt x="461" y="346"/>
                    <a:pt x="461" y="346"/>
                    <a:pt x="461" y="345"/>
                  </a:cubicBezTo>
                  <a:cubicBezTo>
                    <a:pt x="462" y="345"/>
                    <a:pt x="463" y="344"/>
                    <a:pt x="464" y="343"/>
                  </a:cubicBezTo>
                  <a:cubicBezTo>
                    <a:pt x="464" y="342"/>
                    <a:pt x="464" y="342"/>
                    <a:pt x="464" y="342"/>
                  </a:cubicBezTo>
                  <a:cubicBezTo>
                    <a:pt x="465" y="340"/>
                    <a:pt x="466" y="339"/>
                    <a:pt x="466" y="338"/>
                  </a:cubicBezTo>
                  <a:cubicBezTo>
                    <a:pt x="470" y="328"/>
                    <a:pt x="474" y="318"/>
                    <a:pt x="477" y="307"/>
                  </a:cubicBezTo>
                  <a:cubicBezTo>
                    <a:pt x="479" y="298"/>
                    <a:pt x="482" y="288"/>
                    <a:pt x="483" y="278"/>
                  </a:cubicBezTo>
                  <a:cubicBezTo>
                    <a:pt x="484" y="277"/>
                    <a:pt x="484" y="276"/>
                    <a:pt x="484" y="274"/>
                  </a:cubicBezTo>
                  <a:cubicBezTo>
                    <a:pt x="484" y="274"/>
                    <a:pt x="484" y="273"/>
                    <a:pt x="483" y="272"/>
                  </a:cubicBezTo>
                  <a:cubicBezTo>
                    <a:pt x="483" y="272"/>
                    <a:pt x="483" y="272"/>
                    <a:pt x="483" y="271"/>
                  </a:cubicBezTo>
                  <a:cubicBezTo>
                    <a:pt x="483" y="270"/>
                    <a:pt x="483" y="269"/>
                    <a:pt x="483" y="268"/>
                  </a:cubicBezTo>
                  <a:cubicBezTo>
                    <a:pt x="483" y="268"/>
                    <a:pt x="483" y="268"/>
                    <a:pt x="483" y="268"/>
                  </a:cubicBezTo>
                  <a:cubicBezTo>
                    <a:pt x="482" y="267"/>
                    <a:pt x="482" y="266"/>
                    <a:pt x="482" y="265"/>
                  </a:cubicBezTo>
                  <a:cubicBezTo>
                    <a:pt x="479" y="259"/>
                    <a:pt x="476" y="254"/>
                    <a:pt x="471" y="251"/>
                  </a:cubicBezTo>
                  <a:lnTo>
                    <a:pt x="445" y="235"/>
                  </a:lnTo>
                  <a:cubicBezTo>
                    <a:pt x="436" y="230"/>
                    <a:pt x="429" y="218"/>
                    <a:pt x="427" y="208"/>
                  </a:cubicBezTo>
                  <a:cubicBezTo>
                    <a:pt x="426" y="200"/>
                    <a:pt x="424" y="192"/>
                    <a:pt x="421" y="184"/>
                  </a:cubicBezTo>
                  <a:cubicBezTo>
                    <a:pt x="418" y="175"/>
                    <a:pt x="419" y="161"/>
                    <a:pt x="424" y="153"/>
                  </a:cubicBezTo>
                  <a:lnTo>
                    <a:pt x="439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 69">
              <a:extLst>
                <a:ext uri="{FF2B5EF4-FFF2-40B4-BE49-F238E27FC236}">
                  <a16:creationId xmlns:a16="http://schemas.microsoft.com/office/drawing/2014/main" id="{828705C8-9447-CF31-2A20-4F18DE445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5388" y="2159000"/>
              <a:ext cx="574675" cy="862013"/>
            </a:xfrm>
            <a:custGeom>
              <a:avLst/>
              <a:gdLst>
                <a:gd name="T0" fmla="*/ 657 w 952"/>
                <a:gd name="T1" fmla="*/ 1166 h 1430"/>
                <a:gd name="T2" fmla="*/ 637 w 952"/>
                <a:gd name="T3" fmla="*/ 1160 h 1430"/>
                <a:gd name="T4" fmla="*/ 614 w 952"/>
                <a:gd name="T5" fmla="*/ 1151 h 1430"/>
                <a:gd name="T6" fmla="*/ 591 w 952"/>
                <a:gd name="T7" fmla="*/ 1142 h 1430"/>
                <a:gd name="T8" fmla="*/ 490 w 952"/>
                <a:gd name="T9" fmla="*/ 1095 h 1430"/>
                <a:gd name="T10" fmla="*/ 267 w 952"/>
                <a:gd name="T11" fmla="*/ 923 h 1430"/>
                <a:gd name="T12" fmla="*/ 171 w 952"/>
                <a:gd name="T13" fmla="*/ 796 h 1430"/>
                <a:gd name="T14" fmla="*/ 106 w 952"/>
                <a:gd name="T15" fmla="*/ 645 h 1430"/>
                <a:gd name="T16" fmla="*/ 90 w 952"/>
                <a:gd name="T17" fmla="*/ 564 h 1430"/>
                <a:gd name="T18" fmla="*/ 89 w 952"/>
                <a:gd name="T19" fmla="*/ 482 h 1430"/>
                <a:gd name="T20" fmla="*/ 100 w 952"/>
                <a:gd name="T21" fmla="*/ 402 h 1430"/>
                <a:gd name="T22" fmla="*/ 111 w 952"/>
                <a:gd name="T23" fmla="*/ 364 h 1430"/>
                <a:gd name="T24" fmla="*/ 113 w 952"/>
                <a:gd name="T25" fmla="*/ 359 h 1430"/>
                <a:gd name="T26" fmla="*/ 113 w 952"/>
                <a:gd name="T27" fmla="*/ 358 h 1430"/>
                <a:gd name="T28" fmla="*/ 113 w 952"/>
                <a:gd name="T29" fmla="*/ 359 h 1430"/>
                <a:gd name="T30" fmla="*/ 113 w 952"/>
                <a:gd name="T31" fmla="*/ 358 h 1430"/>
                <a:gd name="T32" fmla="*/ 114 w 952"/>
                <a:gd name="T33" fmla="*/ 355 h 1430"/>
                <a:gd name="T34" fmla="*/ 118 w 952"/>
                <a:gd name="T35" fmla="*/ 345 h 1430"/>
                <a:gd name="T36" fmla="*/ 126 w 952"/>
                <a:gd name="T37" fmla="*/ 326 h 1430"/>
                <a:gd name="T38" fmla="*/ 143 w 952"/>
                <a:gd name="T39" fmla="*/ 291 h 1430"/>
                <a:gd name="T40" fmla="*/ 162 w 952"/>
                <a:gd name="T41" fmla="*/ 258 h 1430"/>
                <a:gd name="T42" fmla="*/ 184 w 952"/>
                <a:gd name="T43" fmla="*/ 227 h 1430"/>
                <a:gd name="T44" fmla="*/ 208 w 952"/>
                <a:gd name="T45" fmla="*/ 198 h 1430"/>
                <a:gd name="T46" fmla="*/ 314 w 952"/>
                <a:gd name="T47" fmla="*/ 107 h 1430"/>
                <a:gd name="T48" fmla="*/ 420 w 952"/>
                <a:gd name="T49" fmla="*/ 50 h 1430"/>
                <a:gd name="T50" fmla="*/ 467 w 952"/>
                <a:gd name="T51" fmla="*/ 31 h 1430"/>
                <a:gd name="T52" fmla="*/ 509 w 952"/>
                <a:gd name="T53" fmla="*/ 18 h 1430"/>
                <a:gd name="T54" fmla="*/ 542 w 952"/>
                <a:gd name="T55" fmla="*/ 9 h 1430"/>
                <a:gd name="T56" fmla="*/ 568 w 952"/>
                <a:gd name="T57" fmla="*/ 4 h 1430"/>
                <a:gd name="T58" fmla="*/ 589 w 952"/>
                <a:gd name="T59" fmla="*/ 0 h 1430"/>
                <a:gd name="T60" fmla="*/ 567 w 952"/>
                <a:gd name="T61" fmla="*/ 2 h 1430"/>
                <a:gd name="T62" fmla="*/ 541 w 952"/>
                <a:gd name="T63" fmla="*/ 5 h 1430"/>
                <a:gd name="T64" fmla="*/ 507 w 952"/>
                <a:gd name="T65" fmla="*/ 10 h 1430"/>
                <a:gd name="T66" fmla="*/ 464 w 952"/>
                <a:gd name="T67" fmla="*/ 19 h 1430"/>
                <a:gd name="T68" fmla="*/ 414 w 952"/>
                <a:gd name="T69" fmla="*/ 32 h 1430"/>
                <a:gd name="T70" fmla="*/ 298 w 952"/>
                <a:gd name="T71" fmla="*/ 80 h 1430"/>
                <a:gd name="T72" fmla="*/ 175 w 952"/>
                <a:gd name="T73" fmla="*/ 165 h 1430"/>
                <a:gd name="T74" fmla="*/ 69 w 952"/>
                <a:gd name="T75" fmla="*/ 299 h 1430"/>
                <a:gd name="T76" fmla="*/ 59 w 952"/>
                <a:gd name="T77" fmla="*/ 318 h 1430"/>
                <a:gd name="T78" fmla="*/ 54 w 952"/>
                <a:gd name="T79" fmla="*/ 327 h 1430"/>
                <a:gd name="T80" fmla="*/ 53 w 952"/>
                <a:gd name="T81" fmla="*/ 330 h 1430"/>
                <a:gd name="T82" fmla="*/ 52 w 952"/>
                <a:gd name="T83" fmla="*/ 331 h 1430"/>
                <a:gd name="T84" fmla="*/ 51 w 952"/>
                <a:gd name="T85" fmla="*/ 333 h 1430"/>
                <a:gd name="T86" fmla="*/ 49 w 952"/>
                <a:gd name="T87" fmla="*/ 339 h 1430"/>
                <a:gd name="T88" fmla="*/ 31 w 952"/>
                <a:gd name="T89" fmla="*/ 382 h 1430"/>
                <a:gd name="T90" fmla="*/ 8 w 952"/>
                <a:gd name="T91" fmla="*/ 473 h 1430"/>
                <a:gd name="T92" fmla="*/ 0 w 952"/>
                <a:gd name="T93" fmla="*/ 569 h 1430"/>
                <a:gd name="T94" fmla="*/ 8 w 952"/>
                <a:gd name="T95" fmla="*/ 666 h 1430"/>
                <a:gd name="T96" fmla="*/ 65 w 952"/>
                <a:gd name="T97" fmla="*/ 850 h 1430"/>
                <a:gd name="T98" fmla="*/ 161 w 952"/>
                <a:gd name="T99" fmla="*/ 1010 h 1430"/>
                <a:gd name="T100" fmla="*/ 401 w 952"/>
                <a:gd name="T101" fmla="*/ 1238 h 1430"/>
                <a:gd name="T102" fmla="*/ 516 w 952"/>
                <a:gd name="T103" fmla="*/ 1308 h 1430"/>
                <a:gd name="T104" fmla="*/ 541 w 952"/>
                <a:gd name="T105" fmla="*/ 1320 h 1430"/>
                <a:gd name="T106" fmla="*/ 563 w 952"/>
                <a:gd name="T107" fmla="*/ 1332 h 1430"/>
                <a:gd name="T108" fmla="*/ 605 w 952"/>
                <a:gd name="T109" fmla="*/ 1350 h 1430"/>
                <a:gd name="T110" fmla="*/ 582 w 952"/>
                <a:gd name="T111" fmla="*/ 1430 h 1430"/>
                <a:gd name="T112" fmla="*/ 952 w 952"/>
                <a:gd name="T113" fmla="*/ 1337 h 1430"/>
                <a:gd name="T114" fmla="*/ 687 w 952"/>
                <a:gd name="T115" fmla="*/ 1063 h 1430"/>
                <a:gd name="T116" fmla="*/ 657 w 952"/>
                <a:gd name="T117" fmla="*/ 1166 h 1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52" h="1430">
                  <a:moveTo>
                    <a:pt x="657" y="1166"/>
                  </a:moveTo>
                  <a:cubicBezTo>
                    <a:pt x="651" y="1164"/>
                    <a:pt x="644" y="1162"/>
                    <a:pt x="637" y="1160"/>
                  </a:cubicBezTo>
                  <a:cubicBezTo>
                    <a:pt x="630" y="1157"/>
                    <a:pt x="622" y="1154"/>
                    <a:pt x="614" y="1151"/>
                  </a:cubicBezTo>
                  <a:cubicBezTo>
                    <a:pt x="606" y="1148"/>
                    <a:pt x="598" y="1145"/>
                    <a:pt x="591" y="1142"/>
                  </a:cubicBezTo>
                  <a:cubicBezTo>
                    <a:pt x="562" y="1131"/>
                    <a:pt x="526" y="1114"/>
                    <a:pt x="490" y="1095"/>
                  </a:cubicBezTo>
                  <a:cubicBezTo>
                    <a:pt x="417" y="1056"/>
                    <a:pt x="337" y="999"/>
                    <a:pt x="267" y="923"/>
                  </a:cubicBezTo>
                  <a:cubicBezTo>
                    <a:pt x="231" y="885"/>
                    <a:pt x="199" y="842"/>
                    <a:pt x="171" y="796"/>
                  </a:cubicBezTo>
                  <a:cubicBezTo>
                    <a:pt x="143" y="749"/>
                    <a:pt x="120" y="698"/>
                    <a:pt x="106" y="645"/>
                  </a:cubicBezTo>
                  <a:cubicBezTo>
                    <a:pt x="99" y="618"/>
                    <a:pt x="94" y="591"/>
                    <a:pt x="90" y="564"/>
                  </a:cubicBezTo>
                  <a:cubicBezTo>
                    <a:pt x="88" y="537"/>
                    <a:pt x="87" y="509"/>
                    <a:pt x="89" y="482"/>
                  </a:cubicBezTo>
                  <a:cubicBezTo>
                    <a:pt x="90" y="455"/>
                    <a:pt x="94" y="428"/>
                    <a:pt x="100" y="402"/>
                  </a:cubicBezTo>
                  <a:cubicBezTo>
                    <a:pt x="103" y="389"/>
                    <a:pt x="107" y="376"/>
                    <a:pt x="111" y="364"/>
                  </a:cubicBezTo>
                  <a:lnTo>
                    <a:pt x="113" y="359"/>
                  </a:lnTo>
                  <a:lnTo>
                    <a:pt x="113" y="358"/>
                  </a:lnTo>
                  <a:cubicBezTo>
                    <a:pt x="113" y="358"/>
                    <a:pt x="112" y="360"/>
                    <a:pt x="113" y="359"/>
                  </a:cubicBezTo>
                  <a:lnTo>
                    <a:pt x="113" y="358"/>
                  </a:lnTo>
                  <a:lnTo>
                    <a:pt x="114" y="355"/>
                  </a:lnTo>
                  <a:lnTo>
                    <a:pt x="118" y="345"/>
                  </a:lnTo>
                  <a:lnTo>
                    <a:pt x="126" y="326"/>
                  </a:lnTo>
                  <a:cubicBezTo>
                    <a:pt x="131" y="314"/>
                    <a:pt x="137" y="303"/>
                    <a:pt x="143" y="291"/>
                  </a:cubicBezTo>
                  <a:cubicBezTo>
                    <a:pt x="149" y="280"/>
                    <a:pt x="156" y="269"/>
                    <a:pt x="162" y="258"/>
                  </a:cubicBezTo>
                  <a:cubicBezTo>
                    <a:pt x="170" y="247"/>
                    <a:pt x="177" y="237"/>
                    <a:pt x="184" y="227"/>
                  </a:cubicBezTo>
                  <a:cubicBezTo>
                    <a:pt x="192" y="217"/>
                    <a:pt x="200" y="207"/>
                    <a:pt x="208" y="198"/>
                  </a:cubicBezTo>
                  <a:cubicBezTo>
                    <a:pt x="241" y="161"/>
                    <a:pt x="277" y="131"/>
                    <a:pt x="314" y="107"/>
                  </a:cubicBezTo>
                  <a:cubicBezTo>
                    <a:pt x="351" y="83"/>
                    <a:pt x="387" y="64"/>
                    <a:pt x="420" y="50"/>
                  </a:cubicBezTo>
                  <a:cubicBezTo>
                    <a:pt x="437" y="43"/>
                    <a:pt x="453" y="37"/>
                    <a:pt x="467" y="31"/>
                  </a:cubicBezTo>
                  <a:cubicBezTo>
                    <a:pt x="482" y="27"/>
                    <a:pt x="496" y="22"/>
                    <a:pt x="509" y="18"/>
                  </a:cubicBezTo>
                  <a:cubicBezTo>
                    <a:pt x="521" y="15"/>
                    <a:pt x="532" y="12"/>
                    <a:pt x="542" y="9"/>
                  </a:cubicBezTo>
                  <a:cubicBezTo>
                    <a:pt x="552" y="7"/>
                    <a:pt x="561" y="6"/>
                    <a:pt x="568" y="4"/>
                  </a:cubicBezTo>
                  <a:cubicBezTo>
                    <a:pt x="581" y="1"/>
                    <a:pt x="589" y="0"/>
                    <a:pt x="589" y="0"/>
                  </a:cubicBezTo>
                  <a:cubicBezTo>
                    <a:pt x="589" y="0"/>
                    <a:pt x="581" y="0"/>
                    <a:pt x="567" y="2"/>
                  </a:cubicBezTo>
                  <a:cubicBezTo>
                    <a:pt x="560" y="3"/>
                    <a:pt x="552" y="3"/>
                    <a:pt x="541" y="5"/>
                  </a:cubicBezTo>
                  <a:cubicBezTo>
                    <a:pt x="531" y="6"/>
                    <a:pt x="520" y="8"/>
                    <a:pt x="507" y="10"/>
                  </a:cubicBezTo>
                  <a:cubicBezTo>
                    <a:pt x="494" y="12"/>
                    <a:pt x="479" y="15"/>
                    <a:pt x="464" y="19"/>
                  </a:cubicBezTo>
                  <a:cubicBezTo>
                    <a:pt x="448" y="23"/>
                    <a:pt x="431" y="27"/>
                    <a:pt x="414" y="32"/>
                  </a:cubicBezTo>
                  <a:cubicBezTo>
                    <a:pt x="378" y="43"/>
                    <a:pt x="339" y="59"/>
                    <a:pt x="298" y="80"/>
                  </a:cubicBezTo>
                  <a:cubicBezTo>
                    <a:pt x="257" y="101"/>
                    <a:pt x="215" y="129"/>
                    <a:pt x="175" y="165"/>
                  </a:cubicBezTo>
                  <a:cubicBezTo>
                    <a:pt x="135" y="202"/>
                    <a:pt x="99" y="245"/>
                    <a:pt x="69" y="299"/>
                  </a:cubicBezTo>
                  <a:lnTo>
                    <a:pt x="59" y="318"/>
                  </a:lnTo>
                  <a:lnTo>
                    <a:pt x="54" y="327"/>
                  </a:lnTo>
                  <a:lnTo>
                    <a:pt x="53" y="330"/>
                  </a:lnTo>
                  <a:lnTo>
                    <a:pt x="52" y="331"/>
                  </a:lnTo>
                  <a:lnTo>
                    <a:pt x="51" y="333"/>
                  </a:lnTo>
                  <a:lnTo>
                    <a:pt x="49" y="339"/>
                  </a:lnTo>
                  <a:cubicBezTo>
                    <a:pt x="42" y="353"/>
                    <a:pt x="36" y="367"/>
                    <a:pt x="31" y="382"/>
                  </a:cubicBezTo>
                  <a:cubicBezTo>
                    <a:pt x="21" y="411"/>
                    <a:pt x="13" y="441"/>
                    <a:pt x="8" y="473"/>
                  </a:cubicBezTo>
                  <a:cubicBezTo>
                    <a:pt x="2" y="504"/>
                    <a:pt x="0" y="537"/>
                    <a:pt x="0" y="569"/>
                  </a:cubicBezTo>
                  <a:cubicBezTo>
                    <a:pt x="1" y="601"/>
                    <a:pt x="3" y="634"/>
                    <a:pt x="8" y="666"/>
                  </a:cubicBezTo>
                  <a:cubicBezTo>
                    <a:pt x="19" y="730"/>
                    <a:pt x="39" y="792"/>
                    <a:pt x="65" y="850"/>
                  </a:cubicBezTo>
                  <a:cubicBezTo>
                    <a:pt x="92" y="908"/>
                    <a:pt x="125" y="962"/>
                    <a:pt x="161" y="1010"/>
                  </a:cubicBezTo>
                  <a:cubicBezTo>
                    <a:pt x="234" y="1108"/>
                    <a:pt x="321" y="1183"/>
                    <a:pt x="401" y="1238"/>
                  </a:cubicBezTo>
                  <a:cubicBezTo>
                    <a:pt x="442" y="1266"/>
                    <a:pt x="478" y="1288"/>
                    <a:pt x="516" y="1308"/>
                  </a:cubicBezTo>
                  <a:cubicBezTo>
                    <a:pt x="525" y="1313"/>
                    <a:pt x="533" y="1317"/>
                    <a:pt x="541" y="1320"/>
                  </a:cubicBezTo>
                  <a:cubicBezTo>
                    <a:pt x="548" y="1324"/>
                    <a:pt x="556" y="1328"/>
                    <a:pt x="563" y="1332"/>
                  </a:cubicBezTo>
                  <a:cubicBezTo>
                    <a:pt x="578" y="1338"/>
                    <a:pt x="592" y="1344"/>
                    <a:pt x="605" y="1350"/>
                  </a:cubicBezTo>
                  <a:lnTo>
                    <a:pt x="582" y="1430"/>
                  </a:lnTo>
                  <a:lnTo>
                    <a:pt x="952" y="1337"/>
                  </a:lnTo>
                  <a:lnTo>
                    <a:pt x="687" y="1063"/>
                  </a:lnTo>
                  <a:lnTo>
                    <a:pt x="657" y="1166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 70">
              <a:extLst>
                <a:ext uri="{FF2B5EF4-FFF2-40B4-BE49-F238E27FC236}">
                  <a16:creationId xmlns:a16="http://schemas.microsoft.com/office/drawing/2014/main" id="{7D40D83E-5EDF-85FC-4616-559CD52F40D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0513" y="2060575"/>
              <a:ext cx="654050" cy="895350"/>
            </a:xfrm>
            <a:custGeom>
              <a:avLst/>
              <a:gdLst>
                <a:gd name="T0" fmla="*/ 989 w 1087"/>
                <a:gd name="T1" fmla="*/ 578 h 1486"/>
                <a:gd name="T2" fmla="*/ 727 w 1087"/>
                <a:gd name="T3" fmla="*/ 280 h 1486"/>
                <a:gd name="T4" fmla="*/ 545 w 1087"/>
                <a:gd name="T5" fmla="*/ 167 h 1486"/>
                <a:gd name="T6" fmla="*/ 522 w 1087"/>
                <a:gd name="T7" fmla="*/ 156 h 1486"/>
                <a:gd name="T8" fmla="*/ 512 w 1087"/>
                <a:gd name="T9" fmla="*/ 151 h 1486"/>
                <a:gd name="T10" fmla="*/ 390 w 1087"/>
                <a:gd name="T11" fmla="*/ 103 h 1486"/>
                <a:gd name="T12" fmla="*/ 360 w 1087"/>
                <a:gd name="T13" fmla="*/ 0 h 1486"/>
                <a:gd name="T14" fmla="*/ 292 w 1087"/>
                <a:gd name="T15" fmla="*/ 376 h 1486"/>
                <a:gd name="T16" fmla="*/ 339 w 1087"/>
                <a:gd name="T17" fmla="*/ 283 h 1486"/>
                <a:gd name="T18" fmla="*/ 446 w 1087"/>
                <a:gd name="T19" fmla="*/ 314 h 1486"/>
                <a:gd name="T20" fmla="*/ 448 w 1087"/>
                <a:gd name="T21" fmla="*/ 315 h 1486"/>
                <a:gd name="T22" fmla="*/ 448 w 1087"/>
                <a:gd name="T23" fmla="*/ 314 h 1486"/>
                <a:gd name="T24" fmla="*/ 460 w 1087"/>
                <a:gd name="T25" fmla="*/ 319 h 1486"/>
                <a:gd name="T26" fmla="*/ 508 w 1087"/>
                <a:gd name="T27" fmla="*/ 338 h 1486"/>
                <a:gd name="T28" fmla="*/ 771 w 1087"/>
                <a:gd name="T29" fmla="*/ 506 h 1486"/>
                <a:gd name="T30" fmla="*/ 970 w 1087"/>
                <a:gd name="T31" fmla="*/ 803 h 1486"/>
                <a:gd name="T32" fmla="*/ 985 w 1087"/>
                <a:gd name="T33" fmla="*/ 1072 h 1486"/>
                <a:gd name="T34" fmla="*/ 973 w 1087"/>
                <a:gd name="T35" fmla="*/ 1114 h 1486"/>
                <a:gd name="T36" fmla="*/ 971 w 1087"/>
                <a:gd name="T37" fmla="*/ 1121 h 1486"/>
                <a:gd name="T38" fmla="*/ 971 w 1087"/>
                <a:gd name="T39" fmla="*/ 1121 h 1486"/>
                <a:gd name="T40" fmla="*/ 965 w 1087"/>
                <a:gd name="T41" fmla="*/ 1135 h 1486"/>
                <a:gd name="T42" fmla="*/ 938 w 1087"/>
                <a:gd name="T43" fmla="*/ 1194 h 1486"/>
                <a:gd name="T44" fmla="*/ 890 w 1087"/>
                <a:gd name="T45" fmla="*/ 1265 h 1486"/>
                <a:gd name="T46" fmla="*/ 739 w 1087"/>
                <a:gd name="T47" fmla="*/ 1391 h 1486"/>
                <a:gd name="T48" fmla="*/ 564 w 1087"/>
                <a:gd name="T49" fmla="*/ 1462 h 1486"/>
                <a:gd name="T50" fmla="*/ 479 w 1087"/>
                <a:gd name="T51" fmla="*/ 1480 h 1486"/>
                <a:gd name="T52" fmla="*/ 427 w 1087"/>
                <a:gd name="T53" fmla="*/ 1486 h 1486"/>
                <a:gd name="T54" fmla="*/ 480 w 1087"/>
                <a:gd name="T55" fmla="*/ 1485 h 1486"/>
                <a:gd name="T56" fmla="*/ 567 w 1087"/>
                <a:gd name="T57" fmla="*/ 1475 h 1486"/>
                <a:gd name="T58" fmla="*/ 754 w 1087"/>
                <a:gd name="T59" fmla="*/ 1418 h 1486"/>
                <a:gd name="T60" fmla="*/ 1014 w 1087"/>
                <a:gd name="T61" fmla="*/ 1183 h 1486"/>
                <a:gd name="T62" fmla="*/ 1030 w 1087"/>
                <a:gd name="T63" fmla="*/ 1152 h 1486"/>
                <a:gd name="T64" fmla="*/ 1034 w 1087"/>
                <a:gd name="T65" fmla="*/ 1145 h 1486"/>
                <a:gd name="T66" fmla="*/ 1046 w 1087"/>
                <a:gd name="T67" fmla="*/ 1116 h 1486"/>
                <a:gd name="T68" fmla="*/ 1078 w 1087"/>
                <a:gd name="T69" fmla="*/ 990 h 1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87" h="1486">
                  <a:moveTo>
                    <a:pt x="1066" y="777"/>
                  </a:moveTo>
                  <a:cubicBezTo>
                    <a:pt x="1050" y="707"/>
                    <a:pt x="1023" y="639"/>
                    <a:pt x="989" y="578"/>
                  </a:cubicBezTo>
                  <a:cubicBezTo>
                    <a:pt x="955" y="516"/>
                    <a:pt x="913" y="461"/>
                    <a:pt x="869" y="411"/>
                  </a:cubicBezTo>
                  <a:cubicBezTo>
                    <a:pt x="824" y="361"/>
                    <a:pt x="775" y="317"/>
                    <a:pt x="727" y="280"/>
                  </a:cubicBezTo>
                  <a:cubicBezTo>
                    <a:pt x="677" y="243"/>
                    <a:pt x="629" y="212"/>
                    <a:pt x="580" y="186"/>
                  </a:cubicBezTo>
                  <a:cubicBezTo>
                    <a:pt x="568" y="179"/>
                    <a:pt x="555" y="172"/>
                    <a:pt x="545" y="167"/>
                  </a:cubicBezTo>
                  <a:cubicBezTo>
                    <a:pt x="540" y="165"/>
                    <a:pt x="535" y="162"/>
                    <a:pt x="529" y="159"/>
                  </a:cubicBezTo>
                  <a:lnTo>
                    <a:pt x="522" y="156"/>
                  </a:lnTo>
                  <a:lnTo>
                    <a:pt x="518" y="154"/>
                  </a:lnTo>
                  <a:lnTo>
                    <a:pt x="512" y="151"/>
                  </a:lnTo>
                  <a:cubicBezTo>
                    <a:pt x="489" y="142"/>
                    <a:pt x="468" y="132"/>
                    <a:pt x="448" y="124"/>
                  </a:cubicBezTo>
                  <a:cubicBezTo>
                    <a:pt x="427" y="117"/>
                    <a:pt x="407" y="110"/>
                    <a:pt x="390" y="103"/>
                  </a:cubicBezTo>
                  <a:cubicBezTo>
                    <a:pt x="374" y="98"/>
                    <a:pt x="358" y="94"/>
                    <a:pt x="344" y="90"/>
                  </a:cubicBezTo>
                  <a:lnTo>
                    <a:pt x="360" y="0"/>
                  </a:lnTo>
                  <a:lnTo>
                    <a:pt x="0" y="130"/>
                  </a:lnTo>
                  <a:lnTo>
                    <a:pt x="292" y="376"/>
                  </a:lnTo>
                  <a:lnTo>
                    <a:pt x="310" y="277"/>
                  </a:lnTo>
                  <a:cubicBezTo>
                    <a:pt x="319" y="279"/>
                    <a:pt x="328" y="280"/>
                    <a:pt x="339" y="283"/>
                  </a:cubicBezTo>
                  <a:cubicBezTo>
                    <a:pt x="354" y="287"/>
                    <a:pt x="371" y="291"/>
                    <a:pt x="389" y="296"/>
                  </a:cubicBezTo>
                  <a:cubicBezTo>
                    <a:pt x="407" y="301"/>
                    <a:pt x="426" y="307"/>
                    <a:pt x="446" y="314"/>
                  </a:cubicBezTo>
                  <a:lnTo>
                    <a:pt x="447" y="314"/>
                  </a:lnTo>
                  <a:lnTo>
                    <a:pt x="448" y="315"/>
                  </a:lnTo>
                  <a:cubicBezTo>
                    <a:pt x="445" y="313"/>
                    <a:pt x="448" y="314"/>
                    <a:pt x="447" y="314"/>
                  </a:cubicBezTo>
                  <a:lnTo>
                    <a:pt x="448" y="314"/>
                  </a:lnTo>
                  <a:lnTo>
                    <a:pt x="452" y="316"/>
                  </a:lnTo>
                  <a:lnTo>
                    <a:pt x="460" y="319"/>
                  </a:lnTo>
                  <a:cubicBezTo>
                    <a:pt x="465" y="321"/>
                    <a:pt x="471" y="323"/>
                    <a:pt x="477" y="325"/>
                  </a:cubicBezTo>
                  <a:cubicBezTo>
                    <a:pt x="488" y="330"/>
                    <a:pt x="497" y="334"/>
                    <a:pt x="508" y="338"/>
                  </a:cubicBezTo>
                  <a:cubicBezTo>
                    <a:pt x="549" y="355"/>
                    <a:pt x="594" y="378"/>
                    <a:pt x="639" y="406"/>
                  </a:cubicBezTo>
                  <a:cubicBezTo>
                    <a:pt x="683" y="434"/>
                    <a:pt x="729" y="467"/>
                    <a:pt x="771" y="506"/>
                  </a:cubicBezTo>
                  <a:cubicBezTo>
                    <a:pt x="813" y="546"/>
                    <a:pt x="854" y="590"/>
                    <a:pt x="888" y="640"/>
                  </a:cubicBezTo>
                  <a:cubicBezTo>
                    <a:pt x="922" y="690"/>
                    <a:pt x="950" y="745"/>
                    <a:pt x="970" y="803"/>
                  </a:cubicBezTo>
                  <a:cubicBezTo>
                    <a:pt x="989" y="861"/>
                    <a:pt x="999" y="922"/>
                    <a:pt x="997" y="983"/>
                  </a:cubicBezTo>
                  <a:cubicBezTo>
                    <a:pt x="996" y="1013"/>
                    <a:pt x="991" y="1043"/>
                    <a:pt x="985" y="1072"/>
                  </a:cubicBezTo>
                  <a:lnTo>
                    <a:pt x="980" y="1093"/>
                  </a:lnTo>
                  <a:lnTo>
                    <a:pt x="973" y="1114"/>
                  </a:lnTo>
                  <a:lnTo>
                    <a:pt x="971" y="1120"/>
                  </a:lnTo>
                  <a:lnTo>
                    <a:pt x="971" y="1121"/>
                  </a:lnTo>
                  <a:lnTo>
                    <a:pt x="971" y="1122"/>
                  </a:lnTo>
                  <a:cubicBezTo>
                    <a:pt x="970" y="1123"/>
                    <a:pt x="971" y="1121"/>
                    <a:pt x="971" y="1121"/>
                  </a:cubicBezTo>
                  <a:lnTo>
                    <a:pt x="970" y="1124"/>
                  </a:lnTo>
                  <a:lnTo>
                    <a:pt x="965" y="1135"/>
                  </a:lnTo>
                  <a:cubicBezTo>
                    <a:pt x="962" y="1142"/>
                    <a:pt x="960" y="1149"/>
                    <a:pt x="957" y="1156"/>
                  </a:cubicBezTo>
                  <a:cubicBezTo>
                    <a:pt x="950" y="1170"/>
                    <a:pt x="944" y="1182"/>
                    <a:pt x="938" y="1194"/>
                  </a:cubicBezTo>
                  <a:cubicBezTo>
                    <a:pt x="930" y="1207"/>
                    <a:pt x="923" y="1219"/>
                    <a:pt x="915" y="1231"/>
                  </a:cubicBezTo>
                  <a:cubicBezTo>
                    <a:pt x="906" y="1242"/>
                    <a:pt x="898" y="1254"/>
                    <a:pt x="890" y="1265"/>
                  </a:cubicBezTo>
                  <a:cubicBezTo>
                    <a:pt x="880" y="1275"/>
                    <a:pt x="872" y="1286"/>
                    <a:pt x="862" y="1295"/>
                  </a:cubicBezTo>
                  <a:cubicBezTo>
                    <a:pt x="824" y="1335"/>
                    <a:pt x="781" y="1366"/>
                    <a:pt x="739" y="1391"/>
                  </a:cubicBezTo>
                  <a:cubicBezTo>
                    <a:pt x="697" y="1415"/>
                    <a:pt x="655" y="1433"/>
                    <a:pt x="618" y="1446"/>
                  </a:cubicBezTo>
                  <a:cubicBezTo>
                    <a:pt x="599" y="1452"/>
                    <a:pt x="581" y="1457"/>
                    <a:pt x="564" y="1462"/>
                  </a:cubicBezTo>
                  <a:cubicBezTo>
                    <a:pt x="547" y="1466"/>
                    <a:pt x="531" y="1470"/>
                    <a:pt x="517" y="1473"/>
                  </a:cubicBezTo>
                  <a:cubicBezTo>
                    <a:pt x="503" y="1475"/>
                    <a:pt x="490" y="1478"/>
                    <a:pt x="479" y="1480"/>
                  </a:cubicBezTo>
                  <a:cubicBezTo>
                    <a:pt x="468" y="1482"/>
                    <a:pt x="459" y="1482"/>
                    <a:pt x="451" y="1483"/>
                  </a:cubicBezTo>
                  <a:cubicBezTo>
                    <a:pt x="435" y="1485"/>
                    <a:pt x="427" y="1486"/>
                    <a:pt x="427" y="1486"/>
                  </a:cubicBezTo>
                  <a:cubicBezTo>
                    <a:pt x="427" y="1486"/>
                    <a:pt x="435" y="1486"/>
                    <a:pt x="451" y="1486"/>
                  </a:cubicBezTo>
                  <a:cubicBezTo>
                    <a:pt x="459" y="1485"/>
                    <a:pt x="468" y="1485"/>
                    <a:pt x="480" y="1485"/>
                  </a:cubicBezTo>
                  <a:cubicBezTo>
                    <a:pt x="491" y="1484"/>
                    <a:pt x="504" y="1483"/>
                    <a:pt x="519" y="1481"/>
                  </a:cubicBezTo>
                  <a:cubicBezTo>
                    <a:pt x="533" y="1480"/>
                    <a:pt x="549" y="1477"/>
                    <a:pt x="567" y="1475"/>
                  </a:cubicBezTo>
                  <a:cubicBezTo>
                    <a:pt x="584" y="1472"/>
                    <a:pt x="603" y="1468"/>
                    <a:pt x="623" y="1463"/>
                  </a:cubicBezTo>
                  <a:cubicBezTo>
                    <a:pt x="663" y="1454"/>
                    <a:pt x="707" y="1439"/>
                    <a:pt x="754" y="1418"/>
                  </a:cubicBezTo>
                  <a:cubicBezTo>
                    <a:pt x="800" y="1397"/>
                    <a:pt x="848" y="1368"/>
                    <a:pt x="894" y="1329"/>
                  </a:cubicBezTo>
                  <a:cubicBezTo>
                    <a:pt x="939" y="1290"/>
                    <a:pt x="981" y="1243"/>
                    <a:pt x="1014" y="1183"/>
                  </a:cubicBezTo>
                  <a:cubicBezTo>
                    <a:pt x="1018" y="1176"/>
                    <a:pt x="1021" y="1169"/>
                    <a:pt x="1025" y="1162"/>
                  </a:cubicBezTo>
                  <a:lnTo>
                    <a:pt x="1030" y="1152"/>
                  </a:lnTo>
                  <a:lnTo>
                    <a:pt x="1032" y="1149"/>
                  </a:lnTo>
                  <a:lnTo>
                    <a:pt x="1034" y="1145"/>
                  </a:lnTo>
                  <a:lnTo>
                    <a:pt x="1036" y="1139"/>
                  </a:lnTo>
                  <a:lnTo>
                    <a:pt x="1046" y="1116"/>
                  </a:lnTo>
                  <a:lnTo>
                    <a:pt x="1054" y="1091"/>
                  </a:lnTo>
                  <a:cubicBezTo>
                    <a:pt x="1065" y="1059"/>
                    <a:pt x="1074" y="1025"/>
                    <a:pt x="1078" y="990"/>
                  </a:cubicBezTo>
                  <a:cubicBezTo>
                    <a:pt x="1087" y="919"/>
                    <a:pt x="1082" y="847"/>
                    <a:pt x="1066" y="77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50" name="Elemento grafico 49" descr="Diploma con riempimento a tinta unita">
            <a:extLst>
              <a:ext uri="{FF2B5EF4-FFF2-40B4-BE49-F238E27FC236}">
                <a16:creationId xmlns:a16="http://schemas.microsoft.com/office/drawing/2014/main" id="{C3571C6A-2DCF-CAD1-1FF4-20A62746F749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308928" y="2749967"/>
            <a:ext cx="504209" cy="504209"/>
          </a:xfrm>
          <a:prstGeom prst="rect">
            <a:avLst/>
          </a:prstGeom>
        </p:spPr>
      </p:pic>
      <p:sp>
        <p:nvSpPr>
          <p:cNvPr id="51" name="Ovale 50">
            <a:extLst>
              <a:ext uri="{FF2B5EF4-FFF2-40B4-BE49-F238E27FC236}">
                <a16:creationId xmlns:a16="http://schemas.microsoft.com/office/drawing/2014/main" id="{785CF2B2-2325-77E6-2DED-7595CC1B74FA}"/>
              </a:ext>
            </a:extLst>
          </p:cNvPr>
          <p:cNvSpPr>
            <a:spLocks noChangeAspect="1"/>
          </p:cNvSpPr>
          <p:nvPr/>
        </p:nvSpPr>
        <p:spPr>
          <a:xfrm>
            <a:off x="186656" y="1798728"/>
            <a:ext cx="432000" cy="432000"/>
          </a:xfrm>
          <a:prstGeom prst="ellipse">
            <a:avLst/>
          </a:prstGeom>
          <a:solidFill>
            <a:srgbClr val="0030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000" b="1" dirty="0"/>
              <a:t>1</a:t>
            </a:r>
          </a:p>
        </p:txBody>
      </p:sp>
      <p:sp>
        <p:nvSpPr>
          <p:cNvPr id="52" name="Ovale 51">
            <a:extLst>
              <a:ext uri="{FF2B5EF4-FFF2-40B4-BE49-F238E27FC236}">
                <a16:creationId xmlns:a16="http://schemas.microsoft.com/office/drawing/2014/main" id="{200BB14B-816E-445A-92A2-72D494B0785B}"/>
              </a:ext>
            </a:extLst>
          </p:cNvPr>
          <p:cNvSpPr>
            <a:spLocks noChangeAspect="1"/>
          </p:cNvSpPr>
          <p:nvPr/>
        </p:nvSpPr>
        <p:spPr>
          <a:xfrm>
            <a:off x="570434" y="3766193"/>
            <a:ext cx="432000" cy="432000"/>
          </a:xfrm>
          <a:prstGeom prst="ellipse">
            <a:avLst/>
          </a:prstGeom>
          <a:solidFill>
            <a:srgbClr val="4F86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000" b="1" dirty="0"/>
              <a:t>2</a:t>
            </a:r>
          </a:p>
        </p:txBody>
      </p:sp>
      <p:sp>
        <p:nvSpPr>
          <p:cNvPr id="53" name="Ovale 52">
            <a:extLst>
              <a:ext uri="{FF2B5EF4-FFF2-40B4-BE49-F238E27FC236}">
                <a16:creationId xmlns:a16="http://schemas.microsoft.com/office/drawing/2014/main" id="{2F710321-1DD8-01CA-04DA-19B072BA55AF}"/>
              </a:ext>
            </a:extLst>
          </p:cNvPr>
          <p:cNvSpPr>
            <a:spLocks noChangeAspect="1"/>
          </p:cNvSpPr>
          <p:nvPr/>
        </p:nvSpPr>
        <p:spPr>
          <a:xfrm>
            <a:off x="9393934" y="1462581"/>
            <a:ext cx="432000" cy="432000"/>
          </a:xfrm>
          <a:prstGeom prst="ellipse">
            <a:avLst/>
          </a:prstGeom>
          <a:solidFill>
            <a:srgbClr val="C4D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000" b="1" dirty="0"/>
              <a:t>3</a:t>
            </a:r>
          </a:p>
        </p:txBody>
      </p:sp>
      <p:sp>
        <p:nvSpPr>
          <p:cNvPr id="54" name="Ovale 53">
            <a:extLst>
              <a:ext uri="{FF2B5EF4-FFF2-40B4-BE49-F238E27FC236}">
                <a16:creationId xmlns:a16="http://schemas.microsoft.com/office/drawing/2014/main" id="{D7915903-9ADF-9507-0BDF-500EC0AEF1D8}"/>
              </a:ext>
            </a:extLst>
          </p:cNvPr>
          <p:cNvSpPr>
            <a:spLocks noChangeAspect="1"/>
          </p:cNvSpPr>
          <p:nvPr/>
        </p:nvSpPr>
        <p:spPr>
          <a:xfrm>
            <a:off x="9227102" y="5112652"/>
            <a:ext cx="432000" cy="432000"/>
          </a:xfrm>
          <a:prstGeom prst="ellipse">
            <a:avLst/>
          </a:prstGeom>
          <a:solidFill>
            <a:srgbClr val="AA00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000" b="1" dirty="0"/>
              <a:t>5</a:t>
            </a:r>
          </a:p>
        </p:txBody>
      </p:sp>
      <p:sp>
        <p:nvSpPr>
          <p:cNvPr id="55" name="Ovale 54">
            <a:extLst>
              <a:ext uri="{FF2B5EF4-FFF2-40B4-BE49-F238E27FC236}">
                <a16:creationId xmlns:a16="http://schemas.microsoft.com/office/drawing/2014/main" id="{8B617F1C-03DD-26DA-F6AF-D187230F01DD}"/>
              </a:ext>
            </a:extLst>
          </p:cNvPr>
          <p:cNvSpPr>
            <a:spLocks noChangeAspect="1"/>
          </p:cNvSpPr>
          <p:nvPr/>
        </p:nvSpPr>
        <p:spPr>
          <a:xfrm>
            <a:off x="9449202" y="3146841"/>
            <a:ext cx="432000" cy="43200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000" b="1" dirty="0"/>
              <a:t>4</a:t>
            </a:r>
          </a:p>
        </p:txBody>
      </p:sp>
      <p:grpSp>
        <p:nvGrpSpPr>
          <p:cNvPr id="56" name="Gruppo 55">
            <a:extLst>
              <a:ext uri="{FF2B5EF4-FFF2-40B4-BE49-F238E27FC236}">
                <a16:creationId xmlns:a16="http://schemas.microsoft.com/office/drawing/2014/main" id="{691B4D42-02BE-FF8D-23CE-AE96D1C89052}"/>
              </a:ext>
            </a:extLst>
          </p:cNvPr>
          <p:cNvGrpSpPr/>
          <p:nvPr/>
        </p:nvGrpSpPr>
        <p:grpSpPr>
          <a:xfrm>
            <a:off x="3905694" y="2372458"/>
            <a:ext cx="4312568" cy="2494777"/>
            <a:chOff x="14619" y="2392343"/>
            <a:chExt cx="4312568" cy="2494777"/>
          </a:xfrm>
        </p:grpSpPr>
        <p:pic>
          <p:nvPicPr>
            <p:cNvPr id="57" name="Immagine 96">
              <a:extLst>
                <a:ext uri="{FF2B5EF4-FFF2-40B4-BE49-F238E27FC236}">
                  <a16:creationId xmlns:a16="http://schemas.microsoft.com/office/drawing/2014/main" id="{D88AD493-CFEF-C03A-0E8C-314B9BC653F1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06889" y="2392343"/>
              <a:ext cx="862285" cy="458052"/>
            </a:xfrm>
            <a:prstGeom prst="rect">
              <a:avLst/>
            </a:prstGeom>
          </p:spPr>
        </p:pic>
        <p:pic>
          <p:nvPicPr>
            <p:cNvPr id="58" name="Picture 4" descr="Image result for ASMEL">
              <a:extLst>
                <a:ext uri="{FF2B5EF4-FFF2-40B4-BE49-F238E27FC236}">
                  <a16:creationId xmlns:a16="http://schemas.microsoft.com/office/drawing/2014/main" id="{AD5043FF-C607-6EB2-E292-3D84AE5B58C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6667" y="2953724"/>
              <a:ext cx="345567" cy="1737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9" name="Picture 8" descr="Image result for CEDACRI">
              <a:extLst>
                <a:ext uri="{FF2B5EF4-FFF2-40B4-BE49-F238E27FC236}">
                  <a16:creationId xmlns:a16="http://schemas.microsoft.com/office/drawing/2014/main" id="{D6DE44D2-5CEE-1263-B363-09E6FBF6203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573" t="39237" r="20340" b="31755"/>
            <a:stretch/>
          </p:blipFill>
          <p:spPr bwMode="auto">
            <a:xfrm>
              <a:off x="3866022" y="3748677"/>
              <a:ext cx="461165" cy="1295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0" name="Picture 10" descr="Image result for Comune di Bari">
              <a:extLst>
                <a:ext uri="{FF2B5EF4-FFF2-40B4-BE49-F238E27FC236}">
                  <a16:creationId xmlns:a16="http://schemas.microsoft.com/office/drawing/2014/main" id="{7A8FA9A5-B6AC-68FF-C688-39A448FDB42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0" cstate="print">
              <a:clrChange>
                <a:clrFrom>
                  <a:srgbClr val="F9F9F9"/>
                </a:clrFrom>
                <a:clrTo>
                  <a:srgbClr val="F9F9F9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112" t="7660" r="20913" b="4687"/>
            <a:stretch/>
          </p:blipFill>
          <p:spPr bwMode="auto">
            <a:xfrm>
              <a:off x="819936" y="3689762"/>
              <a:ext cx="334691" cy="3114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" name="Picture 12" descr="Image result for Comune di Milanoi">
              <a:extLst>
                <a:ext uri="{FF2B5EF4-FFF2-40B4-BE49-F238E27FC236}">
                  <a16:creationId xmlns:a16="http://schemas.microsoft.com/office/drawing/2014/main" id="{DFBA82A4-A0CB-3556-010B-81AE3AC8BB0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45" t="30007" r="27328" b="20669"/>
            <a:stretch/>
          </p:blipFill>
          <p:spPr bwMode="auto">
            <a:xfrm>
              <a:off x="969208" y="3024344"/>
              <a:ext cx="214741" cy="3133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" name="Picture 14" descr="Image result for Comune di Roma">
              <a:extLst>
                <a:ext uri="{FF2B5EF4-FFF2-40B4-BE49-F238E27FC236}">
                  <a16:creationId xmlns:a16="http://schemas.microsoft.com/office/drawing/2014/main" id="{26BFF7D9-82A7-62EF-E3B5-69C9FB8C469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2" cstate="print">
              <a:clrChange>
                <a:clrFrom>
                  <a:srgbClr val="FCFCFC"/>
                </a:clrFrom>
                <a:clrTo>
                  <a:srgbClr val="FCFC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829" t="27590" r="20686" b="27494"/>
            <a:stretch/>
          </p:blipFill>
          <p:spPr bwMode="auto">
            <a:xfrm>
              <a:off x="1085776" y="4072985"/>
              <a:ext cx="437928" cy="1783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3" name="Picture 20" descr="Image result for ICCREA Banca">
              <a:extLst>
                <a:ext uri="{FF2B5EF4-FFF2-40B4-BE49-F238E27FC236}">
                  <a16:creationId xmlns:a16="http://schemas.microsoft.com/office/drawing/2014/main" id="{4ABC14A0-D797-50F9-C0E7-ECF8BF57F74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710" t="26713" r="9658" b="27166"/>
            <a:stretch/>
          </p:blipFill>
          <p:spPr bwMode="auto">
            <a:xfrm>
              <a:off x="14619" y="3555236"/>
              <a:ext cx="541748" cy="1420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4" name="Picture 22" descr="Image result for Infocamere">
              <a:extLst>
                <a:ext uri="{FF2B5EF4-FFF2-40B4-BE49-F238E27FC236}">
                  <a16:creationId xmlns:a16="http://schemas.microsoft.com/office/drawing/2014/main" id="{A043CB9C-1291-78DD-759B-BFF422E6BA5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5859"/>
            <a:stretch/>
          </p:blipFill>
          <p:spPr bwMode="auto">
            <a:xfrm>
              <a:off x="3712236" y="4543693"/>
              <a:ext cx="381059" cy="2326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5" name="Picture 32" descr="Image result for Mediolanum Banca">
              <a:extLst>
                <a:ext uri="{FF2B5EF4-FFF2-40B4-BE49-F238E27FC236}">
                  <a16:creationId xmlns:a16="http://schemas.microsoft.com/office/drawing/2014/main" id="{21F44C91-24DE-9D4F-2B0A-58E953EA5B2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7242" b="36875"/>
            <a:stretch/>
          </p:blipFill>
          <p:spPr bwMode="auto">
            <a:xfrm>
              <a:off x="2603329" y="2551528"/>
              <a:ext cx="528167" cy="1378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6" name="Picture 46" descr="Image result for Regione Siciliana">
              <a:extLst>
                <a:ext uri="{FF2B5EF4-FFF2-40B4-BE49-F238E27FC236}">
                  <a16:creationId xmlns:a16="http://schemas.microsoft.com/office/drawing/2014/main" id="{C5601CAA-D03A-A9A6-3E09-F6AB516E9DA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6" cstate="print">
              <a:clrChange>
                <a:clrFrom>
                  <a:srgbClr val="EBEBED"/>
                </a:clrFrom>
                <a:clrTo>
                  <a:srgbClr val="EBEBED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0492" t="15190" r="30615" b="14613"/>
            <a:stretch/>
          </p:blipFill>
          <p:spPr bwMode="auto">
            <a:xfrm>
              <a:off x="2970775" y="3393047"/>
              <a:ext cx="246651" cy="2524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7" name="Picture 48" descr="Image result for Terna">
              <a:extLst>
                <a:ext uri="{FF2B5EF4-FFF2-40B4-BE49-F238E27FC236}">
                  <a16:creationId xmlns:a16="http://schemas.microsoft.com/office/drawing/2014/main" id="{71F7B638-12F5-C774-E22B-7FC35A58CEE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5348" b="37782"/>
            <a:stretch/>
          </p:blipFill>
          <p:spPr bwMode="auto">
            <a:xfrm>
              <a:off x="962030" y="2767712"/>
              <a:ext cx="436409" cy="1182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8" name="Picture 26" descr="Image result for Innolva">
              <a:extLst>
                <a:ext uri="{FF2B5EF4-FFF2-40B4-BE49-F238E27FC236}">
                  <a16:creationId xmlns:a16="http://schemas.microsoft.com/office/drawing/2014/main" id="{646B5E31-A0CE-03E3-88D5-A011A4AEF50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3045" b="29912"/>
            <a:stretch/>
          </p:blipFill>
          <p:spPr bwMode="auto">
            <a:xfrm>
              <a:off x="1023706" y="3445272"/>
              <a:ext cx="505722" cy="1888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9" name="Picture 16" descr="Image result for Monte dei Paschi di Siena">
              <a:extLst>
                <a:ext uri="{FF2B5EF4-FFF2-40B4-BE49-F238E27FC236}">
                  <a16:creationId xmlns:a16="http://schemas.microsoft.com/office/drawing/2014/main" id="{BCADBC3A-DABE-05CD-3435-8AD7F830F0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20465" y="4734122"/>
              <a:ext cx="419305" cy="1529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0" name="Picture 8" descr="Image result for ANCI Lombardia">
              <a:extLst>
                <a:ext uri="{FF2B5EF4-FFF2-40B4-BE49-F238E27FC236}">
                  <a16:creationId xmlns:a16="http://schemas.microsoft.com/office/drawing/2014/main" id="{1F72F9F2-D0FD-94FA-06BD-9C5D52B0783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0" cstate="print">
              <a:clrChange>
                <a:clrFrom>
                  <a:srgbClr val="FFFDFC"/>
                </a:clrFrom>
                <a:clrTo>
                  <a:srgbClr val="FFFD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411" t="29624" r="18186" b="28551"/>
            <a:stretch/>
          </p:blipFill>
          <p:spPr bwMode="auto">
            <a:xfrm>
              <a:off x="3768052" y="3100933"/>
              <a:ext cx="520904" cy="2488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1" name="Picture 10" descr="Image result for Assolombarda">
              <a:extLst>
                <a:ext uri="{FF2B5EF4-FFF2-40B4-BE49-F238E27FC236}">
                  <a16:creationId xmlns:a16="http://schemas.microsoft.com/office/drawing/2014/main" id="{67F00870-74F0-E7C7-7374-D6949C30AF1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61838" y="4169045"/>
              <a:ext cx="572693" cy="3332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2" name="Picture 14" descr="Image result for Confindustria Digitale">
              <a:extLst>
                <a:ext uri="{FF2B5EF4-FFF2-40B4-BE49-F238E27FC236}">
                  <a16:creationId xmlns:a16="http://schemas.microsoft.com/office/drawing/2014/main" id="{E0E1E5C6-817F-0304-AC9B-F81E73210E3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4440" b="17465"/>
            <a:stretch/>
          </p:blipFill>
          <p:spPr bwMode="auto">
            <a:xfrm>
              <a:off x="2826596" y="4554325"/>
              <a:ext cx="668826" cy="2160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3" name="Picture 2" descr="Image result for ANCI DIGITALI">
              <a:extLst>
                <a:ext uri="{FF2B5EF4-FFF2-40B4-BE49-F238E27FC236}">
                  <a16:creationId xmlns:a16="http://schemas.microsoft.com/office/drawing/2014/main" id="{DFBA748F-BDFB-C3E3-FEE9-BECDFE73C4F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29037" y="2603916"/>
              <a:ext cx="725971" cy="1629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4" name="Picture 4" descr="Image result for aon">
              <a:extLst>
                <a:ext uri="{FF2B5EF4-FFF2-40B4-BE49-F238E27FC236}">
                  <a16:creationId xmlns:a16="http://schemas.microsoft.com/office/drawing/2014/main" id="{C8EE099E-1F13-2B24-F83E-AB9371CB371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41725" y="3017386"/>
              <a:ext cx="284508" cy="1233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5" name="Picture 5">
              <a:extLst>
                <a:ext uri="{FF2B5EF4-FFF2-40B4-BE49-F238E27FC236}">
                  <a16:creationId xmlns:a16="http://schemas.microsoft.com/office/drawing/2014/main" id="{C4F4C627-4BEA-08D4-D460-A0F740E7C51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5" cstate="print">
              <a:clrChange>
                <a:clrFrom>
                  <a:srgbClr val="FCFCFC"/>
                </a:clrFrom>
                <a:clrTo>
                  <a:srgbClr val="FCFC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890" t="3918" r="5636" b="4535"/>
            <a:stretch/>
          </p:blipFill>
          <p:spPr>
            <a:xfrm>
              <a:off x="2092285" y="4521821"/>
              <a:ext cx="413884" cy="332287"/>
            </a:xfrm>
            <a:prstGeom prst="rect">
              <a:avLst/>
            </a:prstGeom>
          </p:spPr>
        </p:pic>
        <p:pic>
          <p:nvPicPr>
            <p:cNvPr id="76" name="Picture 6" descr="Image result for hera logo">
              <a:extLst>
                <a:ext uri="{FF2B5EF4-FFF2-40B4-BE49-F238E27FC236}">
                  <a16:creationId xmlns:a16="http://schemas.microsoft.com/office/drawing/2014/main" id="{158794CC-1457-3CF2-CF28-62C086A80B2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84860" y="3692418"/>
              <a:ext cx="521453" cy="2920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7" name="Picture 8" descr="https://external-content.duckduckgo.com/iu/?u=https%3A%2F%2Fupload.wikimedia.org%2Fwikipedia%2Fit%2Fthumb%2Ff%2Ff2%2FLogo_Cattolica_Assicurazioni.png%2F1920px-Logo_Cattolica_Assicurazioni.png&amp;f=1&amp;nofb=1">
              <a:extLst>
                <a:ext uri="{FF2B5EF4-FFF2-40B4-BE49-F238E27FC236}">
                  <a16:creationId xmlns:a16="http://schemas.microsoft.com/office/drawing/2014/main" id="{CEE9E5D0-27D6-5BE1-72C9-A04314D2520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9450" y="4456950"/>
              <a:ext cx="528095" cy="2146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8" name="Picture 10" descr="https://external-content.duckduckgo.com/iu/?u=http%3A%2F%2Fimg2.wikia.nocookie.net%2F__cb20110305114542%2Flogopedia%2Fimages%2Fthumb%2F0%2F0f%2FPoste_Italiane_logo.png%2F640px-Poste_Italiane_logo.png&amp;f=1&amp;nofb=1">
              <a:extLst>
                <a:ext uri="{FF2B5EF4-FFF2-40B4-BE49-F238E27FC236}">
                  <a16:creationId xmlns:a16="http://schemas.microsoft.com/office/drawing/2014/main" id="{E7C4ECF1-29D5-0118-0CF7-F9E14F27245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23628" y="2936669"/>
              <a:ext cx="694626" cy="1488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9" name="Picture 12" descr="https://external-content.duckduckgo.com/iu/?u=https%3A%2F%2Fwww.engage.it%2Fwp-content%2Fuploads%2F2017%2F06%2Fvigigas-ok-600x400.gif&amp;f=1&amp;nofb=1">
              <a:extLst>
                <a:ext uri="{FF2B5EF4-FFF2-40B4-BE49-F238E27FC236}">
                  <a16:creationId xmlns:a16="http://schemas.microsoft.com/office/drawing/2014/main" id="{7B67E798-E1DE-EC25-2E02-31FD57B3123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4128" b="28965"/>
            <a:stretch/>
          </p:blipFill>
          <p:spPr bwMode="auto">
            <a:xfrm>
              <a:off x="3161009" y="4224677"/>
              <a:ext cx="572683" cy="2190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0" name="Picture 16" descr="Image result for CONSIP">
              <a:extLst>
                <a:ext uri="{FF2B5EF4-FFF2-40B4-BE49-F238E27FC236}">
                  <a16:creationId xmlns:a16="http://schemas.microsoft.com/office/drawing/2014/main" id="{E2D659B2-8438-41F4-7C0D-8AE46BFD015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55770" y="3409370"/>
              <a:ext cx="285664" cy="2579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1" name="Immagine 91">
              <a:extLst>
                <a:ext uri="{FF2B5EF4-FFF2-40B4-BE49-F238E27FC236}">
                  <a16:creationId xmlns:a16="http://schemas.microsoft.com/office/drawing/2014/main" id="{46F41040-ACFD-A611-465B-328CDF8A3F1E}"/>
                </a:ext>
              </a:extLst>
            </p:cNvPr>
            <p:cNvPicPr>
              <a:picLocks noChangeAspect="1"/>
            </p:cNvPicPr>
            <p:nvPr/>
          </p:nvPicPr>
          <p:blipFill>
            <a:blip r:embed="rId4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38856" y="4198943"/>
              <a:ext cx="616763" cy="264612"/>
            </a:xfrm>
            <a:prstGeom prst="rect">
              <a:avLst/>
            </a:prstGeom>
          </p:spPr>
        </p:pic>
        <p:pic>
          <p:nvPicPr>
            <p:cNvPr id="82" name="Picture 6" descr="Image result for Banca Popolare di Sondrio">
              <a:extLst>
                <a:ext uri="{FF2B5EF4-FFF2-40B4-BE49-F238E27FC236}">
                  <a16:creationId xmlns:a16="http://schemas.microsoft.com/office/drawing/2014/main" id="{5B612A3A-D49B-29E8-A34D-7305DBA54B1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2" cstate="print">
              <a:clrChange>
                <a:clrFrom>
                  <a:srgbClr val="FAFEFF"/>
                </a:clrFrom>
                <a:clrTo>
                  <a:srgbClr val="FAFE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68549" y="3128462"/>
              <a:ext cx="519705" cy="2743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3" name="Picture 42" descr="Image result for Reale Mutua">
              <a:extLst>
                <a:ext uri="{FF2B5EF4-FFF2-40B4-BE49-F238E27FC236}">
                  <a16:creationId xmlns:a16="http://schemas.microsoft.com/office/drawing/2014/main" id="{9AEC9885-9CD1-15C1-4695-A2D0B40B9A0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95276" y="4150078"/>
              <a:ext cx="524415" cy="1658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4" name="Picture 2" descr="Image result for ACQUEDOTTO PUGLIESE">
              <a:extLst>
                <a:ext uri="{FF2B5EF4-FFF2-40B4-BE49-F238E27FC236}">
                  <a16:creationId xmlns:a16="http://schemas.microsoft.com/office/drawing/2014/main" id="{09A72A98-684F-A957-D415-AC9AD6B2894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57290" y="3910514"/>
              <a:ext cx="308139" cy="283977"/>
            </a:xfrm>
            <a:prstGeom prst="rect">
              <a:avLst/>
            </a:prstGeom>
            <a:solidFill>
              <a:srgbClr val="FFFFFF"/>
            </a:solidFill>
          </p:spPr>
        </p:pic>
        <p:pic>
          <p:nvPicPr>
            <p:cNvPr id="85" name="Immagine 95" descr="Immagine che contiene disegnando&#10;&#10;Descrizione generata con affidabilità molto elevata">
              <a:extLst>
                <a:ext uri="{FF2B5EF4-FFF2-40B4-BE49-F238E27FC236}">
                  <a16:creationId xmlns:a16="http://schemas.microsoft.com/office/drawing/2014/main" id="{6A8535DE-71E5-665A-571D-00FC520B84E2}"/>
                </a:ext>
              </a:extLst>
            </p:cNvPr>
            <p:cNvPicPr>
              <a:picLocks noChangeAspect="1"/>
            </p:cNvPicPr>
            <p:nvPr/>
          </p:nvPicPr>
          <p:blipFill>
            <a:blip r:embed="rId4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094853" y="3777893"/>
              <a:ext cx="603986" cy="148711"/>
            </a:xfrm>
            <a:prstGeom prst="rect">
              <a:avLst/>
            </a:prstGeom>
          </p:spPr>
        </p:pic>
        <p:pic>
          <p:nvPicPr>
            <p:cNvPr id="86" name="Immagine 97">
              <a:extLst>
                <a:ext uri="{FF2B5EF4-FFF2-40B4-BE49-F238E27FC236}">
                  <a16:creationId xmlns:a16="http://schemas.microsoft.com/office/drawing/2014/main" id="{44AC002D-0EC4-F6B0-A85E-65608823FE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846" t="24328" r="10605" b="23939"/>
            <a:stretch/>
          </p:blipFill>
          <p:spPr>
            <a:xfrm>
              <a:off x="303532" y="3997628"/>
              <a:ext cx="528338" cy="151456"/>
            </a:xfrm>
            <a:prstGeom prst="rect">
              <a:avLst/>
            </a:prstGeom>
          </p:spPr>
        </p:pic>
        <p:pic>
          <p:nvPicPr>
            <p:cNvPr id="87" name="Immagine 98">
              <a:extLst>
                <a:ext uri="{FF2B5EF4-FFF2-40B4-BE49-F238E27FC236}">
                  <a16:creationId xmlns:a16="http://schemas.microsoft.com/office/drawing/2014/main" id="{F432F00A-C083-8F78-AC94-E1DBC873A727}"/>
                </a:ext>
              </a:extLst>
            </p:cNvPr>
            <p:cNvPicPr>
              <a:picLocks noChangeAspect="1"/>
            </p:cNvPicPr>
            <p:nvPr/>
          </p:nvPicPr>
          <p:blipFill>
            <a:blip r:embed="rId4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60831" y="2797840"/>
              <a:ext cx="606879" cy="219452"/>
            </a:xfrm>
            <a:prstGeom prst="rect">
              <a:avLst/>
            </a:prstGeom>
          </p:spPr>
        </p:pic>
        <p:pic>
          <p:nvPicPr>
            <p:cNvPr id="88" name="Immagine 87">
              <a:extLst>
                <a:ext uri="{FF2B5EF4-FFF2-40B4-BE49-F238E27FC236}">
                  <a16:creationId xmlns:a16="http://schemas.microsoft.com/office/drawing/2014/main" id="{38431903-6AE8-E92C-92F7-43B10761FBA0}"/>
                </a:ext>
              </a:extLst>
            </p:cNvPr>
            <p:cNvPicPr>
              <a:picLocks noChangeAspect="1"/>
            </p:cNvPicPr>
            <p:nvPr/>
          </p:nvPicPr>
          <p:blipFill>
            <a:blip r:embed="rId4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86047" y="3346933"/>
              <a:ext cx="833623" cy="384749"/>
            </a:xfrm>
            <a:prstGeom prst="rect">
              <a:avLst/>
            </a:prstGeom>
          </p:spPr>
        </p:pic>
        <p:sp>
          <p:nvSpPr>
            <p:cNvPr id="89" name="Ovale 88">
              <a:extLst>
                <a:ext uri="{FF2B5EF4-FFF2-40B4-BE49-F238E27FC236}">
                  <a16:creationId xmlns:a16="http://schemas.microsoft.com/office/drawing/2014/main" id="{482C7032-B3BC-7402-8559-EBE5500A3EDA}"/>
                </a:ext>
              </a:extLst>
            </p:cNvPr>
            <p:cNvSpPr/>
            <p:nvPr/>
          </p:nvSpPr>
          <p:spPr>
            <a:xfrm rot="20244401">
              <a:off x="293763" y="2860715"/>
              <a:ext cx="3895926" cy="1613190"/>
            </a:xfrm>
            <a:prstGeom prst="ellipse">
              <a:avLst/>
            </a:prstGeom>
            <a:noFill/>
            <a:ln w="9525">
              <a:solidFill>
                <a:srgbClr val="003057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90" name="Ovale 89">
              <a:extLst>
                <a:ext uri="{FF2B5EF4-FFF2-40B4-BE49-F238E27FC236}">
                  <a16:creationId xmlns:a16="http://schemas.microsoft.com/office/drawing/2014/main" id="{DCA169D0-9838-8AA4-D369-5CE6A40F33FE}"/>
                </a:ext>
              </a:extLst>
            </p:cNvPr>
            <p:cNvSpPr/>
            <p:nvPr/>
          </p:nvSpPr>
          <p:spPr>
            <a:xfrm rot="1482860">
              <a:off x="351263" y="2806645"/>
              <a:ext cx="3895926" cy="1613190"/>
            </a:xfrm>
            <a:prstGeom prst="ellipse">
              <a:avLst/>
            </a:prstGeom>
            <a:noFill/>
            <a:ln w="9525">
              <a:solidFill>
                <a:srgbClr val="003057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91" name="Ovale 90">
              <a:extLst>
                <a:ext uri="{FF2B5EF4-FFF2-40B4-BE49-F238E27FC236}">
                  <a16:creationId xmlns:a16="http://schemas.microsoft.com/office/drawing/2014/main" id="{3992E6A5-D509-8D26-EA7D-6ECF405F475A}"/>
                </a:ext>
              </a:extLst>
            </p:cNvPr>
            <p:cNvSpPr/>
            <p:nvPr/>
          </p:nvSpPr>
          <p:spPr>
            <a:xfrm>
              <a:off x="303532" y="2808288"/>
              <a:ext cx="3895926" cy="1613190"/>
            </a:xfrm>
            <a:prstGeom prst="ellipse">
              <a:avLst/>
            </a:prstGeom>
            <a:noFill/>
            <a:ln w="9525">
              <a:solidFill>
                <a:srgbClr val="003057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</p:spTree>
    <p:extLst>
      <p:ext uri="{BB962C8B-B14F-4D97-AF65-F5344CB8AC3E}">
        <p14:creationId xmlns:p14="http://schemas.microsoft.com/office/powerpoint/2010/main" val="11069049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Connettore diritto 1">
            <a:extLst>
              <a:ext uri="{FF2B5EF4-FFF2-40B4-BE49-F238E27FC236}">
                <a16:creationId xmlns:a16="http://schemas.microsoft.com/office/drawing/2014/main" id="{3B0F9A0A-8871-A732-860F-38639A2BAAEF}"/>
              </a:ext>
            </a:extLst>
          </p:cNvPr>
          <p:cNvCxnSpPr>
            <a:cxnSpLocks/>
          </p:cNvCxnSpPr>
          <p:nvPr/>
        </p:nvCxnSpPr>
        <p:spPr>
          <a:xfrm>
            <a:off x="9717973" y="3546286"/>
            <a:ext cx="156074" cy="103606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Connettore diritto 2">
            <a:extLst>
              <a:ext uri="{FF2B5EF4-FFF2-40B4-BE49-F238E27FC236}">
                <a16:creationId xmlns:a16="http://schemas.microsoft.com/office/drawing/2014/main" id="{0786ED03-AD00-1721-E1ED-27C3FA5E3756}"/>
              </a:ext>
            </a:extLst>
          </p:cNvPr>
          <p:cNvCxnSpPr>
            <a:cxnSpLocks/>
          </p:cNvCxnSpPr>
          <p:nvPr/>
        </p:nvCxnSpPr>
        <p:spPr>
          <a:xfrm flipV="1">
            <a:off x="8102399" y="3533759"/>
            <a:ext cx="180000" cy="10800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Connettore diritto 3">
            <a:extLst>
              <a:ext uri="{FF2B5EF4-FFF2-40B4-BE49-F238E27FC236}">
                <a16:creationId xmlns:a16="http://schemas.microsoft.com/office/drawing/2014/main" id="{17FEC66A-B9D2-D24B-15D5-E473DCEE3E8E}"/>
              </a:ext>
            </a:extLst>
          </p:cNvPr>
          <p:cNvCxnSpPr/>
          <p:nvPr/>
        </p:nvCxnSpPr>
        <p:spPr>
          <a:xfrm flipV="1">
            <a:off x="1958400" y="3492286"/>
            <a:ext cx="180000" cy="10800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olo 1">
            <a:extLst>
              <a:ext uri="{FF2B5EF4-FFF2-40B4-BE49-F238E27FC236}">
                <a16:creationId xmlns:a16="http://schemas.microsoft.com/office/drawing/2014/main" id="{D0C79BDD-7790-0D8D-6EE3-6E56B845B63F}"/>
              </a:ext>
            </a:extLst>
          </p:cNvPr>
          <p:cNvSpPr txBox="1">
            <a:spLocks/>
          </p:cNvSpPr>
          <p:nvPr/>
        </p:nvSpPr>
        <p:spPr>
          <a:xfrm>
            <a:off x="624682" y="367683"/>
            <a:ext cx="10942637" cy="581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it-IT" sz="3000" b="1" dirty="0">
                <a:solidFill>
                  <a:srgbClr val="00305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 fasi della Sandbox</a:t>
            </a:r>
          </a:p>
        </p:txBody>
      </p:sp>
      <p:sp>
        <p:nvSpPr>
          <p:cNvPr id="6" name="Segnaposto numero diapositiva 3">
            <a:extLst>
              <a:ext uri="{FF2B5EF4-FFF2-40B4-BE49-F238E27FC236}">
                <a16:creationId xmlns:a16="http://schemas.microsoft.com/office/drawing/2014/main" id="{4C8F03A3-1590-B36F-1BC2-6E6EABC2E3BE}"/>
              </a:ext>
            </a:extLst>
          </p:cNvPr>
          <p:cNvSpPr txBox="1">
            <a:spLocks/>
          </p:cNvSpPr>
          <p:nvPr/>
        </p:nvSpPr>
        <p:spPr>
          <a:xfrm>
            <a:off x="11374438" y="6310313"/>
            <a:ext cx="81756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t-IT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fld id="{B7C8ED99-00F4-7E4D-A2B9-6ECAF68FD4D2}" type="slidenum">
              <a:rPr lang="it-IT" sz="140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l">
                <a:defRPr/>
              </a:pPr>
              <a:t>9</a:t>
            </a:fld>
            <a:endParaRPr lang="it-IT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Google Shape;7824;p63">
            <a:extLst>
              <a:ext uri="{FF2B5EF4-FFF2-40B4-BE49-F238E27FC236}">
                <a16:creationId xmlns:a16="http://schemas.microsoft.com/office/drawing/2014/main" id="{84D95DA5-B2DD-861F-3D80-B8F036A97F22}"/>
              </a:ext>
            </a:extLst>
          </p:cNvPr>
          <p:cNvSpPr/>
          <p:nvPr/>
        </p:nvSpPr>
        <p:spPr>
          <a:xfrm>
            <a:off x="-8592" y="2887842"/>
            <a:ext cx="10938263" cy="1200683"/>
          </a:xfrm>
          <a:custGeom>
            <a:avLst/>
            <a:gdLst/>
            <a:ahLst/>
            <a:cxnLst/>
            <a:rect l="l" t="t" r="r" b="b"/>
            <a:pathLst>
              <a:path w="285373" h="31310" fill="none" extrusionOk="0">
                <a:moveTo>
                  <a:pt x="285373" y="3317"/>
                </a:moveTo>
                <a:lnTo>
                  <a:pt x="269256" y="31309"/>
                </a:lnTo>
                <a:lnTo>
                  <a:pt x="233095" y="31309"/>
                </a:lnTo>
                <a:lnTo>
                  <a:pt x="215067" y="352"/>
                </a:lnTo>
                <a:lnTo>
                  <a:pt x="179426" y="352"/>
                </a:lnTo>
                <a:lnTo>
                  <a:pt x="161606" y="31218"/>
                </a:lnTo>
                <a:lnTo>
                  <a:pt x="125718" y="31309"/>
                </a:lnTo>
                <a:lnTo>
                  <a:pt x="107651" y="0"/>
                </a:lnTo>
                <a:lnTo>
                  <a:pt x="71490" y="0"/>
                </a:lnTo>
                <a:lnTo>
                  <a:pt x="53669" y="31075"/>
                </a:lnTo>
                <a:lnTo>
                  <a:pt x="18042" y="31075"/>
                </a:lnTo>
                <a:lnTo>
                  <a:pt x="0" y="118"/>
                </a:lnTo>
              </a:path>
            </a:pathLst>
          </a:custGeom>
          <a:gradFill flip="none" rotWithShape="1">
            <a:gsLst>
              <a:gs pos="0">
                <a:srgbClr val="FFFFFF">
                  <a:shade val="30000"/>
                  <a:satMod val="115000"/>
                </a:srgbClr>
              </a:gs>
              <a:gs pos="50000">
                <a:srgbClr val="FFFFFF">
                  <a:shade val="67500"/>
                  <a:satMod val="115000"/>
                </a:srgbClr>
              </a:gs>
              <a:gs pos="100000">
                <a:srgbClr val="FFFFFF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ln w="28575" cap="flat" cmpd="sng">
            <a:noFill/>
            <a:prstDash val="solid"/>
            <a:miter lim="13007"/>
            <a:headEnd type="none" w="sm" len="sm"/>
            <a:tailEnd type="none" w="sm" len="sm"/>
          </a:ln>
          <a:scene3d>
            <a:camera prst="orthographicFront"/>
            <a:lightRig rig="threePt" dir="t"/>
          </a:scene3d>
          <a:sp3d/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it-IT" sz="950" dirty="0">
              <a:solidFill>
                <a:schemeClr val="bg1"/>
              </a:solidFill>
            </a:endParaRPr>
          </a:p>
        </p:txBody>
      </p:sp>
      <p:sp>
        <p:nvSpPr>
          <p:cNvPr id="8" name="Google Shape;7820;p63">
            <a:extLst>
              <a:ext uri="{FF2B5EF4-FFF2-40B4-BE49-F238E27FC236}">
                <a16:creationId xmlns:a16="http://schemas.microsoft.com/office/drawing/2014/main" id="{AC1193E4-82F7-4EDF-9417-3981D69774AB}"/>
              </a:ext>
            </a:extLst>
          </p:cNvPr>
          <p:cNvSpPr>
            <a:spLocks noChangeAspect="1"/>
          </p:cNvSpPr>
          <p:nvPr/>
        </p:nvSpPr>
        <p:spPr>
          <a:xfrm>
            <a:off x="8007282" y="2274789"/>
            <a:ext cx="1962226" cy="1700089"/>
          </a:xfrm>
          <a:custGeom>
            <a:avLst/>
            <a:gdLst/>
            <a:ahLst/>
            <a:cxnLst/>
            <a:rect l="l" t="t" r="r" b="b"/>
            <a:pathLst>
              <a:path w="57768" h="50027" extrusionOk="0">
                <a:moveTo>
                  <a:pt x="14439" y="0"/>
                </a:moveTo>
                <a:lnTo>
                  <a:pt x="1" y="25013"/>
                </a:lnTo>
                <a:lnTo>
                  <a:pt x="14439" y="50027"/>
                </a:lnTo>
                <a:lnTo>
                  <a:pt x="43329" y="50027"/>
                </a:lnTo>
                <a:lnTo>
                  <a:pt x="57767" y="25013"/>
                </a:lnTo>
                <a:lnTo>
                  <a:pt x="43329" y="0"/>
                </a:lnTo>
                <a:close/>
              </a:path>
            </a:pathLst>
          </a:custGeom>
          <a:solidFill>
            <a:schemeClr val="bg1"/>
          </a:solidFill>
          <a:ln w="38100" cap="flat" cmpd="sng">
            <a:solidFill>
              <a:srgbClr val="AA006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it-IT" sz="950" dirty="0">
              <a:solidFill>
                <a:schemeClr val="bg1"/>
              </a:solidFill>
            </a:endParaRPr>
          </a:p>
        </p:txBody>
      </p:sp>
      <p:sp>
        <p:nvSpPr>
          <p:cNvPr id="9" name="Google Shape;1825;p52">
            <a:extLst>
              <a:ext uri="{FF2B5EF4-FFF2-40B4-BE49-F238E27FC236}">
                <a16:creationId xmlns:a16="http://schemas.microsoft.com/office/drawing/2014/main" id="{62538F4B-152C-164D-E866-116397241B81}"/>
              </a:ext>
            </a:extLst>
          </p:cNvPr>
          <p:cNvSpPr txBox="1"/>
          <p:nvPr/>
        </p:nvSpPr>
        <p:spPr>
          <a:xfrm>
            <a:off x="8074495" y="3079173"/>
            <a:ext cx="1705574" cy="5364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71450" lvl="0" indent="-171450" algn="ctr">
              <a:buFont typeface="Wingdings" panose="05000000000000000000" pitchFamily="2" charset="2"/>
              <a:buChar char="ü"/>
            </a:pPr>
            <a:r>
              <a:rPr lang="it-IT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ntiere </a:t>
            </a: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</a:t>
            </a:r>
          </a:p>
          <a:p>
            <a:pPr marL="171450" lvl="0" indent="-171450" algn="ctr">
              <a:buFont typeface="Wingdings" panose="05000000000000000000" pitchFamily="2" charset="2"/>
              <a:buChar char="ü"/>
            </a:pPr>
            <a:r>
              <a:rPr lang="it-IT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ntiere </a:t>
            </a: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gal</a:t>
            </a:r>
          </a:p>
          <a:p>
            <a:pPr marL="171450" lvl="0" indent="-171450" algn="ctr">
              <a:buFont typeface="Wingdings" panose="05000000000000000000" pitchFamily="2" charset="2"/>
              <a:buChar char="ü"/>
            </a:pPr>
            <a:r>
              <a:rPr lang="it-IT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ntiere </a:t>
            </a: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</a:t>
            </a:r>
          </a:p>
        </p:txBody>
      </p:sp>
      <p:sp>
        <p:nvSpPr>
          <p:cNvPr id="10" name="Google Shape;1829;p52">
            <a:extLst>
              <a:ext uri="{FF2B5EF4-FFF2-40B4-BE49-F238E27FC236}">
                <a16:creationId xmlns:a16="http://schemas.microsoft.com/office/drawing/2014/main" id="{83268A50-40F6-7A80-EDA5-57FB92B26654}"/>
              </a:ext>
            </a:extLst>
          </p:cNvPr>
          <p:cNvSpPr txBox="1"/>
          <p:nvPr/>
        </p:nvSpPr>
        <p:spPr>
          <a:xfrm>
            <a:off x="8203657" y="2591073"/>
            <a:ext cx="1566297" cy="4135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it-IT" b="1" dirty="0">
                <a:solidFill>
                  <a:srgbClr val="AA00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 PRODUZIONE</a:t>
            </a:r>
            <a:endParaRPr lang="it-IT" sz="1050" b="1" dirty="0">
              <a:solidFill>
                <a:srgbClr val="AA0061"/>
              </a:solidFill>
              <a:latin typeface="Arial" panose="020B0604020202020204" pitchFamily="34" charset="0"/>
              <a:ea typeface="Roboto"/>
              <a:cs typeface="Arial" panose="020B0604020202020204" pitchFamily="34" charset="0"/>
              <a:sym typeface="Roboto"/>
            </a:endParaRPr>
          </a:p>
        </p:txBody>
      </p:sp>
      <p:grpSp>
        <p:nvGrpSpPr>
          <p:cNvPr id="11" name="Gruppo 10">
            <a:extLst>
              <a:ext uri="{FF2B5EF4-FFF2-40B4-BE49-F238E27FC236}">
                <a16:creationId xmlns:a16="http://schemas.microsoft.com/office/drawing/2014/main" id="{B7AE9710-914C-0472-C229-1B22A2D6DC84}"/>
              </a:ext>
            </a:extLst>
          </p:cNvPr>
          <p:cNvGrpSpPr/>
          <p:nvPr/>
        </p:nvGrpSpPr>
        <p:grpSpPr>
          <a:xfrm>
            <a:off x="9673773" y="3062669"/>
            <a:ext cx="2197635" cy="1904101"/>
            <a:chOff x="9405735" y="2065105"/>
            <a:chExt cx="2474828" cy="2143229"/>
          </a:xfrm>
        </p:grpSpPr>
        <p:sp>
          <p:nvSpPr>
            <p:cNvPr id="12" name="Google Shape;7819;p63">
              <a:extLst>
                <a:ext uri="{FF2B5EF4-FFF2-40B4-BE49-F238E27FC236}">
                  <a16:creationId xmlns:a16="http://schemas.microsoft.com/office/drawing/2014/main" id="{C70E125B-2669-4093-D5A1-0DB0A2D1EB9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542296" y="2168861"/>
              <a:ext cx="2209673" cy="1913597"/>
            </a:xfrm>
            <a:custGeom>
              <a:avLst/>
              <a:gdLst/>
              <a:ahLst/>
              <a:cxnLst/>
              <a:rect l="l" t="t" r="r" b="b"/>
              <a:pathLst>
                <a:path w="57767" h="50027" extrusionOk="0">
                  <a:moveTo>
                    <a:pt x="14439" y="0"/>
                  </a:moveTo>
                  <a:lnTo>
                    <a:pt x="0" y="25014"/>
                  </a:lnTo>
                  <a:lnTo>
                    <a:pt x="14439" y="50027"/>
                  </a:lnTo>
                  <a:lnTo>
                    <a:pt x="43329" y="50027"/>
                  </a:lnTo>
                  <a:lnTo>
                    <a:pt x="57767" y="25014"/>
                  </a:lnTo>
                  <a:lnTo>
                    <a:pt x="43329" y="0"/>
                  </a:lnTo>
                  <a:close/>
                </a:path>
              </a:pathLst>
            </a:custGeom>
            <a:solidFill>
              <a:srgbClr val="C4D600">
                <a:alpha val="39000"/>
              </a:srgbClr>
            </a:solidFill>
            <a:ln w="28575" cap="flat" cmpd="sng">
              <a:solidFill>
                <a:srgbClr val="C4D6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it-IT" sz="950" dirty="0"/>
            </a:p>
          </p:txBody>
        </p:sp>
        <p:sp>
          <p:nvSpPr>
            <p:cNvPr id="13" name="Google Shape;1825;p52">
              <a:extLst>
                <a:ext uri="{FF2B5EF4-FFF2-40B4-BE49-F238E27FC236}">
                  <a16:creationId xmlns:a16="http://schemas.microsoft.com/office/drawing/2014/main" id="{4A07A647-8D7E-CCC9-B6E1-5319B9299976}"/>
                </a:ext>
              </a:extLst>
            </p:cNvPr>
            <p:cNvSpPr txBox="1"/>
            <p:nvPr/>
          </p:nvSpPr>
          <p:spPr>
            <a:xfrm>
              <a:off x="9785512" y="3070433"/>
              <a:ext cx="1715273" cy="69052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lvl="0" algn="ctr"/>
              <a:r>
                <a:rPr lang="it-IT" sz="12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dustrializzazione della piattaforma</a:t>
              </a:r>
            </a:p>
          </p:txBody>
        </p:sp>
        <p:sp>
          <p:nvSpPr>
            <p:cNvPr id="14" name="Google Shape;1829;p52">
              <a:extLst>
                <a:ext uri="{FF2B5EF4-FFF2-40B4-BE49-F238E27FC236}">
                  <a16:creationId xmlns:a16="http://schemas.microsoft.com/office/drawing/2014/main" id="{59AF6891-8CC3-A4A1-3E77-313E03ACF584}"/>
                </a:ext>
              </a:extLst>
            </p:cNvPr>
            <p:cNvSpPr txBox="1"/>
            <p:nvPr/>
          </p:nvSpPr>
          <p:spPr>
            <a:xfrm>
              <a:off x="9772487" y="2553708"/>
              <a:ext cx="1763857" cy="46543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ctr" rtl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it-IT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CALE UP</a:t>
              </a:r>
              <a:endParaRPr lang="it-IT" sz="1050" b="1" dirty="0">
                <a:solidFill>
                  <a:schemeClr val="tx1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endParaRPr>
            </a:p>
          </p:txBody>
        </p:sp>
        <p:sp>
          <p:nvSpPr>
            <p:cNvPr id="15" name="Google Shape;7819;p63">
              <a:extLst>
                <a:ext uri="{FF2B5EF4-FFF2-40B4-BE49-F238E27FC236}">
                  <a16:creationId xmlns:a16="http://schemas.microsoft.com/office/drawing/2014/main" id="{A322D997-DEEE-36E1-C0BF-DE52873888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405735" y="2065105"/>
              <a:ext cx="2474828" cy="2143229"/>
            </a:xfrm>
            <a:custGeom>
              <a:avLst/>
              <a:gdLst/>
              <a:ahLst/>
              <a:cxnLst/>
              <a:rect l="l" t="t" r="r" b="b"/>
              <a:pathLst>
                <a:path w="57767" h="50027" extrusionOk="0">
                  <a:moveTo>
                    <a:pt x="14439" y="0"/>
                  </a:moveTo>
                  <a:lnTo>
                    <a:pt x="0" y="25014"/>
                  </a:lnTo>
                  <a:lnTo>
                    <a:pt x="14439" y="50027"/>
                  </a:lnTo>
                  <a:lnTo>
                    <a:pt x="43329" y="50027"/>
                  </a:lnTo>
                  <a:lnTo>
                    <a:pt x="57767" y="25014"/>
                  </a:lnTo>
                  <a:lnTo>
                    <a:pt x="43329" y="0"/>
                  </a:lnTo>
                  <a:close/>
                </a:path>
              </a:pathLst>
            </a:custGeom>
            <a:noFill/>
            <a:ln w="127000" cap="flat" cmpd="sng">
              <a:solidFill>
                <a:srgbClr val="C4D6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lang="it-IT" sz="950" dirty="0">
                <a:solidFill>
                  <a:schemeClr val="bg1"/>
                </a:solidFill>
              </a:endParaRPr>
            </a:p>
          </p:txBody>
        </p:sp>
      </p:grpSp>
      <p:sp>
        <p:nvSpPr>
          <p:cNvPr id="16" name="Google Shape;7822;p63">
            <a:extLst>
              <a:ext uri="{FF2B5EF4-FFF2-40B4-BE49-F238E27FC236}">
                <a16:creationId xmlns:a16="http://schemas.microsoft.com/office/drawing/2014/main" id="{C01E5809-09CF-7489-9F23-04A843F01037}"/>
              </a:ext>
            </a:extLst>
          </p:cNvPr>
          <p:cNvSpPr>
            <a:spLocks noChangeAspect="1"/>
          </p:cNvSpPr>
          <p:nvPr/>
        </p:nvSpPr>
        <p:spPr>
          <a:xfrm>
            <a:off x="3372400" y="3103494"/>
            <a:ext cx="1962935" cy="1700089"/>
          </a:xfrm>
          <a:custGeom>
            <a:avLst/>
            <a:gdLst/>
            <a:ahLst/>
            <a:cxnLst/>
            <a:rect l="l" t="t" r="r" b="b"/>
            <a:pathLst>
              <a:path w="57780" h="50027" extrusionOk="0">
                <a:moveTo>
                  <a:pt x="14452" y="0"/>
                </a:moveTo>
                <a:lnTo>
                  <a:pt x="0" y="25013"/>
                </a:lnTo>
                <a:lnTo>
                  <a:pt x="14452" y="50027"/>
                </a:lnTo>
                <a:lnTo>
                  <a:pt x="43328" y="50027"/>
                </a:lnTo>
                <a:lnTo>
                  <a:pt x="57780" y="25013"/>
                </a:lnTo>
                <a:lnTo>
                  <a:pt x="43328" y="0"/>
                </a:lnTo>
                <a:close/>
              </a:path>
            </a:pathLst>
          </a:custGeom>
          <a:noFill/>
          <a:ln w="38100" cap="flat" cmpd="sng">
            <a:solidFill>
              <a:srgbClr val="00305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it-IT" sz="950" dirty="0"/>
          </a:p>
        </p:txBody>
      </p:sp>
      <p:sp>
        <p:nvSpPr>
          <p:cNvPr id="17" name="Google Shape;1825;p52">
            <a:extLst>
              <a:ext uri="{FF2B5EF4-FFF2-40B4-BE49-F238E27FC236}">
                <a16:creationId xmlns:a16="http://schemas.microsoft.com/office/drawing/2014/main" id="{FE811AA4-6878-AB9E-56D8-CD467654F04B}"/>
              </a:ext>
            </a:extLst>
          </p:cNvPr>
          <p:cNvSpPr txBox="1"/>
          <p:nvPr/>
        </p:nvSpPr>
        <p:spPr>
          <a:xfrm>
            <a:off x="3718022" y="3757614"/>
            <a:ext cx="1260193" cy="899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 algn="ctr"/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viluppo e testing </a:t>
            </a:r>
            <a:r>
              <a:rPr lang="it-IT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la soluzione</a:t>
            </a:r>
          </a:p>
        </p:txBody>
      </p:sp>
      <p:sp>
        <p:nvSpPr>
          <p:cNvPr id="18" name="Google Shape;1829;p52">
            <a:extLst>
              <a:ext uri="{FF2B5EF4-FFF2-40B4-BE49-F238E27FC236}">
                <a16:creationId xmlns:a16="http://schemas.microsoft.com/office/drawing/2014/main" id="{A4C25BAA-4E83-CD8D-A489-0A6771652E86}"/>
              </a:ext>
            </a:extLst>
          </p:cNvPr>
          <p:cNvSpPr txBox="1"/>
          <p:nvPr/>
        </p:nvSpPr>
        <p:spPr>
          <a:xfrm>
            <a:off x="3589414" y="3415190"/>
            <a:ext cx="1566297" cy="4135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it-IT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ST</a:t>
            </a: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it-IT" b="1" dirty="0">
                <a:solidFill>
                  <a:srgbClr val="002060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rPr>
              <a:t>PROTOTYPING</a:t>
            </a:r>
          </a:p>
        </p:txBody>
      </p:sp>
      <p:sp>
        <p:nvSpPr>
          <p:cNvPr id="19" name="Google Shape;7820;p63">
            <a:extLst>
              <a:ext uri="{FF2B5EF4-FFF2-40B4-BE49-F238E27FC236}">
                <a16:creationId xmlns:a16="http://schemas.microsoft.com/office/drawing/2014/main" id="{6671033E-6337-2A3C-FF09-9772CE3361AF}"/>
              </a:ext>
            </a:extLst>
          </p:cNvPr>
          <p:cNvSpPr>
            <a:spLocks noChangeAspect="1"/>
          </p:cNvSpPr>
          <p:nvPr/>
        </p:nvSpPr>
        <p:spPr>
          <a:xfrm>
            <a:off x="6350360" y="3124369"/>
            <a:ext cx="1962226" cy="1700089"/>
          </a:xfrm>
          <a:custGeom>
            <a:avLst/>
            <a:gdLst/>
            <a:ahLst/>
            <a:cxnLst/>
            <a:rect l="l" t="t" r="r" b="b"/>
            <a:pathLst>
              <a:path w="57768" h="50027" extrusionOk="0">
                <a:moveTo>
                  <a:pt x="14439" y="0"/>
                </a:moveTo>
                <a:lnTo>
                  <a:pt x="1" y="25013"/>
                </a:lnTo>
                <a:lnTo>
                  <a:pt x="14439" y="50027"/>
                </a:lnTo>
                <a:lnTo>
                  <a:pt x="43329" y="50027"/>
                </a:lnTo>
                <a:lnTo>
                  <a:pt x="57767" y="25013"/>
                </a:lnTo>
                <a:lnTo>
                  <a:pt x="43329" y="0"/>
                </a:lnTo>
                <a:close/>
              </a:path>
            </a:pathLst>
          </a:custGeom>
          <a:solidFill>
            <a:schemeClr val="bg1"/>
          </a:solidFill>
          <a:ln w="38100" cap="flat" cmpd="sng">
            <a:solidFill>
              <a:srgbClr val="00305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it-IT" sz="950" dirty="0">
              <a:solidFill>
                <a:schemeClr val="bg1"/>
              </a:solidFill>
            </a:endParaRPr>
          </a:p>
        </p:txBody>
      </p:sp>
      <p:sp>
        <p:nvSpPr>
          <p:cNvPr id="20" name="Google Shape;1825;p52">
            <a:extLst>
              <a:ext uri="{FF2B5EF4-FFF2-40B4-BE49-F238E27FC236}">
                <a16:creationId xmlns:a16="http://schemas.microsoft.com/office/drawing/2014/main" id="{9EB67625-550B-60D9-1B0A-03450CFF2F1E}"/>
              </a:ext>
            </a:extLst>
          </p:cNvPr>
          <p:cNvSpPr txBox="1"/>
          <p:nvPr/>
        </p:nvSpPr>
        <p:spPr>
          <a:xfrm>
            <a:off x="6695427" y="3908257"/>
            <a:ext cx="1250623" cy="5364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 algn="ctr"/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ort</a:t>
            </a:r>
            <a:r>
              <a:rPr lang="it-IT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scrittivo dei risultati ottenuti</a:t>
            </a:r>
          </a:p>
        </p:txBody>
      </p:sp>
      <p:sp>
        <p:nvSpPr>
          <p:cNvPr id="21" name="Google Shape;1829;p52">
            <a:extLst>
              <a:ext uri="{FF2B5EF4-FFF2-40B4-BE49-F238E27FC236}">
                <a16:creationId xmlns:a16="http://schemas.microsoft.com/office/drawing/2014/main" id="{90FEB0CA-61B7-7866-4635-0B1D275AE0AB}"/>
              </a:ext>
            </a:extLst>
          </p:cNvPr>
          <p:cNvSpPr txBox="1"/>
          <p:nvPr/>
        </p:nvSpPr>
        <p:spPr>
          <a:xfrm>
            <a:off x="6537590" y="3401501"/>
            <a:ext cx="1566297" cy="4135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it-IT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COME</a:t>
            </a: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it-IT" b="1" dirty="0">
                <a:solidFill>
                  <a:srgbClr val="002060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rPr>
              <a:t>ANALYSIS</a:t>
            </a:r>
          </a:p>
        </p:txBody>
      </p:sp>
      <p:sp>
        <p:nvSpPr>
          <p:cNvPr id="22" name="Google Shape;7823;p63">
            <a:extLst>
              <a:ext uri="{FF2B5EF4-FFF2-40B4-BE49-F238E27FC236}">
                <a16:creationId xmlns:a16="http://schemas.microsoft.com/office/drawing/2014/main" id="{E18F1FC4-E7EC-E63B-55FF-D22676FFA1CE}"/>
              </a:ext>
            </a:extLst>
          </p:cNvPr>
          <p:cNvSpPr>
            <a:spLocks noChangeAspect="1"/>
          </p:cNvSpPr>
          <p:nvPr/>
        </p:nvSpPr>
        <p:spPr>
          <a:xfrm>
            <a:off x="4862861" y="2279701"/>
            <a:ext cx="1962179" cy="1700089"/>
          </a:xfrm>
          <a:custGeom>
            <a:avLst/>
            <a:gdLst/>
            <a:ahLst/>
            <a:cxnLst/>
            <a:rect l="l" t="t" r="r" b="b"/>
            <a:pathLst>
              <a:path w="57767" h="50027" extrusionOk="0">
                <a:moveTo>
                  <a:pt x="14439" y="0"/>
                </a:moveTo>
                <a:lnTo>
                  <a:pt x="0" y="25013"/>
                </a:lnTo>
                <a:lnTo>
                  <a:pt x="14439" y="50027"/>
                </a:lnTo>
                <a:lnTo>
                  <a:pt x="43328" y="50027"/>
                </a:lnTo>
                <a:lnTo>
                  <a:pt x="57767" y="25013"/>
                </a:lnTo>
                <a:lnTo>
                  <a:pt x="43328" y="0"/>
                </a:lnTo>
                <a:close/>
              </a:path>
            </a:pathLst>
          </a:custGeom>
          <a:noFill/>
          <a:ln w="38100" cap="flat" cmpd="sng">
            <a:solidFill>
              <a:srgbClr val="00305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it-IT" sz="950" dirty="0">
              <a:solidFill>
                <a:schemeClr val="bg1"/>
              </a:solidFill>
            </a:endParaRPr>
          </a:p>
        </p:txBody>
      </p:sp>
      <p:sp>
        <p:nvSpPr>
          <p:cNvPr id="23" name="Google Shape;1825;p52">
            <a:extLst>
              <a:ext uri="{FF2B5EF4-FFF2-40B4-BE49-F238E27FC236}">
                <a16:creationId xmlns:a16="http://schemas.microsoft.com/office/drawing/2014/main" id="{3924332F-A4D7-4E86-2F55-51F13087F54E}"/>
              </a:ext>
            </a:extLst>
          </p:cNvPr>
          <p:cNvSpPr txBox="1"/>
          <p:nvPr/>
        </p:nvSpPr>
        <p:spPr>
          <a:xfrm>
            <a:off x="5131686" y="3099545"/>
            <a:ext cx="1471929" cy="5364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 algn="ctr"/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 experimentation </a:t>
            </a:r>
            <a:r>
              <a:rPr lang="it-IT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 dati reali </a:t>
            </a:r>
          </a:p>
        </p:txBody>
      </p:sp>
      <p:sp>
        <p:nvSpPr>
          <p:cNvPr id="24" name="Google Shape;1829;p52">
            <a:extLst>
              <a:ext uri="{FF2B5EF4-FFF2-40B4-BE49-F238E27FC236}">
                <a16:creationId xmlns:a16="http://schemas.microsoft.com/office/drawing/2014/main" id="{8F69A498-3097-1E83-A6DB-030DE6E4809B}"/>
              </a:ext>
            </a:extLst>
          </p:cNvPr>
          <p:cNvSpPr txBox="1"/>
          <p:nvPr/>
        </p:nvSpPr>
        <p:spPr>
          <a:xfrm>
            <a:off x="5052405" y="2576542"/>
            <a:ext cx="1566297" cy="4135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it-IT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 simulation</a:t>
            </a:r>
            <a:endParaRPr lang="it-IT" sz="1050" b="1" dirty="0">
              <a:solidFill>
                <a:schemeClr val="bg1"/>
              </a:solidFill>
              <a:latin typeface="Arial" panose="020B0604020202020204" pitchFamily="34" charset="0"/>
              <a:ea typeface="Roboto"/>
              <a:cs typeface="Arial" panose="020B0604020202020204" pitchFamily="34" charset="0"/>
              <a:sym typeface="Roboto"/>
            </a:endParaRPr>
          </a:p>
        </p:txBody>
      </p:sp>
      <p:sp>
        <p:nvSpPr>
          <p:cNvPr id="25" name="Google Shape;1829;p52">
            <a:extLst>
              <a:ext uri="{FF2B5EF4-FFF2-40B4-BE49-F238E27FC236}">
                <a16:creationId xmlns:a16="http://schemas.microsoft.com/office/drawing/2014/main" id="{C023C47C-DDC5-A0A6-68F0-57541B5F2E4A}"/>
              </a:ext>
            </a:extLst>
          </p:cNvPr>
          <p:cNvSpPr txBox="1"/>
          <p:nvPr/>
        </p:nvSpPr>
        <p:spPr>
          <a:xfrm>
            <a:off x="5052405" y="2577379"/>
            <a:ext cx="1566297" cy="4135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it-IT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 SIMULATION</a:t>
            </a:r>
            <a:endParaRPr lang="it-IT" sz="1050" b="1" dirty="0">
              <a:solidFill>
                <a:srgbClr val="002060"/>
              </a:solidFill>
              <a:latin typeface="Arial" panose="020B0604020202020204" pitchFamily="34" charset="0"/>
              <a:ea typeface="Roboto"/>
              <a:cs typeface="Arial" panose="020B0604020202020204" pitchFamily="34" charset="0"/>
              <a:sym typeface="Roboto"/>
            </a:endParaRPr>
          </a:p>
        </p:txBody>
      </p:sp>
      <p:sp>
        <p:nvSpPr>
          <p:cNvPr id="26" name="Google Shape;7821;p63">
            <a:extLst>
              <a:ext uri="{FF2B5EF4-FFF2-40B4-BE49-F238E27FC236}">
                <a16:creationId xmlns:a16="http://schemas.microsoft.com/office/drawing/2014/main" id="{C8812C29-030B-C57A-770A-DE9DC393E227}"/>
              </a:ext>
            </a:extLst>
          </p:cNvPr>
          <p:cNvSpPr>
            <a:spLocks noChangeAspect="1"/>
          </p:cNvSpPr>
          <p:nvPr/>
        </p:nvSpPr>
        <p:spPr>
          <a:xfrm>
            <a:off x="1899710" y="2249764"/>
            <a:ext cx="1961895" cy="1700089"/>
          </a:xfrm>
          <a:custGeom>
            <a:avLst/>
            <a:gdLst/>
            <a:ahLst/>
            <a:cxnLst/>
            <a:rect l="l" t="t" r="r" b="b"/>
            <a:pathLst>
              <a:path w="57768" h="50027" extrusionOk="0">
                <a:moveTo>
                  <a:pt x="14439" y="0"/>
                </a:moveTo>
                <a:lnTo>
                  <a:pt x="1" y="25013"/>
                </a:lnTo>
                <a:lnTo>
                  <a:pt x="14439" y="50027"/>
                </a:lnTo>
                <a:lnTo>
                  <a:pt x="43329" y="50027"/>
                </a:lnTo>
                <a:lnTo>
                  <a:pt x="57768" y="25013"/>
                </a:lnTo>
                <a:lnTo>
                  <a:pt x="43329" y="0"/>
                </a:lnTo>
                <a:close/>
              </a:path>
            </a:pathLst>
          </a:custGeom>
          <a:solidFill>
            <a:schemeClr val="bg1"/>
          </a:solidFill>
          <a:ln w="38100" cap="flat" cmpd="sng">
            <a:solidFill>
              <a:srgbClr val="003057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it-IT" sz="950" dirty="0"/>
          </a:p>
        </p:txBody>
      </p:sp>
      <p:sp>
        <p:nvSpPr>
          <p:cNvPr id="27" name="Google Shape;1825;p52">
            <a:extLst>
              <a:ext uri="{FF2B5EF4-FFF2-40B4-BE49-F238E27FC236}">
                <a16:creationId xmlns:a16="http://schemas.microsoft.com/office/drawing/2014/main" id="{15F9FDED-BD36-0D16-02FA-1DBD947BA640}"/>
              </a:ext>
            </a:extLst>
          </p:cNvPr>
          <p:cNvSpPr txBox="1"/>
          <p:nvPr/>
        </p:nvSpPr>
        <p:spPr>
          <a:xfrm>
            <a:off x="2280647" y="3079174"/>
            <a:ext cx="1222905" cy="5364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 algn="ctr"/>
            <a:r>
              <a:rPr lang="it-IT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egno della </a:t>
            </a: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uzione</a:t>
            </a:r>
          </a:p>
        </p:txBody>
      </p:sp>
      <p:sp>
        <p:nvSpPr>
          <p:cNvPr id="28" name="Google Shape;1829;p52">
            <a:extLst>
              <a:ext uri="{FF2B5EF4-FFF2-40B4-BE49-F238E27FC236}">
                <a16:creationId xmlns:a16="http://schemas.microsoft.com/office/drawing/2014/main" id="{D854B15D-050C-6588-BE96-C47BB0C4B79C}"/>
              </a:ext>
            </a:extLst>
          </p:cNvPr>
          <p:cNvSpPr txBox="1"/>
          <p:nvPr/>
        </p:nvSpPr>
        <p:spPr>
          <a:xfrm>
            <a:off x="2108952" y="2612393"/>
            <a:ext cx="1566297" cy="4135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it-IT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ept </a:t>
            </a: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it-IT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ign</a:t>
            </a:r>
            <a:endParaRPr lang="it-IT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Google Shape;1829;p52">
            <a:extLst>
              <a:ext uri="{FF2B5EF4-FFF2-40B4-BE49-F238E27FC236}">
                <a16:creationId xmlns:a16="http://schemas.microsoft.com/office/drawing/2014/main" id="{F1FF71FA-8D09-5F0F-3DBB-2BC9B191AF06}"/>
              </a:ext>
            </a:extLst>
          </p:cNvPr>
          <p:cNvSpPr txBox="1"/>
          <p:nvPr/>
        </p:nvSpPr>
        <p:spPr>
          <a:xfrm>
            <a:off x="2110014" y="2615050"/>
            <a:ext cx="1566297" cy="4135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it-IT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ept </a:t>
            </a: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it-IT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ign</a:t>
            </a:r>
            <a:endParaRPr lang="it-IT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Google Shape;1829;p52">
            <a:extLst>
              <a:ext uri="{FF2B5EF4-FFF2-40B4-BE49-F238E27FC236}">
                <a16:creationId xmlns:a16="http://schemas.microsoft.com/office/drawing/2014/main" id="{0DB57E53-8999-2202-F794-7286F620ECB3}"/>
              </a:ext>
            </a:extLst>
          </p:cNvPr>
          <p:cNvSpPr txBox="1"/>
          <p:nvPr/>
        </p:nvSpPr>
        <p:spPr>
          <a:xfrm>
            <a:off x="2110014" y="2615887"/>
            <a:ext cx="1566297" cy="4135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it-IT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EPT </a:t>
            </a: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it-IT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IGN</a:t>
            </a:r>
          </a:p>
        </p:txBody>
      </p:sp>
      <p:sp>
        <p:nvSpPr>
          <p:cNvPr id="31" name="Google Shape;7821;p63">
            <a:extLst>
              <a:ext uri="{FF2B5EF4-FFF2-40B4-BE49-F238E27FC236}">
                <a16:creationId xmlns:a16="http://schemas.microsoft.com/office/drawing/2014/main" id="{8903F4C8-62B5-9A3D-7434-27EC1A96A79A}"/>
              </a:ext>
            </a:extLst>
          </p:cNvPr>
          <p:cNvSpPr>
            <a:spLocks noChangeAspect="1"/>
          </p:cNvSpPr>
          <p:nvPr/>
        </p:nvSpPr>
        <p:spPr>
          <a:xfrm>
            <a:off x="232603" y="3137690"/>
            <a:ext cx="1961895" cy="1700089"/>
          </a:xfrm>
          <a:custGeom>
            <a:avLst/>
            <a:gdLst/>
            <a:ahLst/>
            <a:cxnLst/>
            <a:rect l="l" t="t" r="r" b="b"/>
            <a:pathLst>
              <a:path w="57768" h="50027" extrusionOk="0">
                <a:moveTo>
                  <a:pt x="14439" y="0"/>
                </a:moveTo>
                <a:lnTo>
                  <a:pt x="1" y="25013"/>
                </a:lnTo>
                <a:lnTo>
                  <a:pt x="14439" y="50027"/>
                </a:lnTo>
                <a:lnTo>
                  <a:pt x="43329" y="50027"/>
                </a:lnTo>
                <a:lnTo>
                  <a:pt x="57768" y="25013"/>
                </a:lnTo>
                <a:lnTo>
                  <a:pt x="43329" y="0"/>
                </a:lnTo>
                <a:close/>
              </a:path>
            </a:pathLst>
          </a:custGeom>
          <a:noFill/>
          <a:ln w="38100" cap="flat" cmpd="sng">
            <a:solidFill>
              <a:srgbClr val="A7BCD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it-IT" sz="950" dirty="0"/>
          </a:p>
        </p:txBody>
      </p:sp>
      <p:sp>
        <p:nvSpPr>
          <p:cNvPr id="32" name="CasellaDiTesto 31">
            <a:extLst>
              <a:ext uri="{FF2B5EF4-FFF2-40B4-BE49-F238E27FC236}">
                <a16:creationId xmlns:a16="http://schemas.microsoft.com/office/drawing/2014/main" id="{7C3AC090-4024-7059-356C-CE854A1861E3}"/>
              </a:ext>
            </a:extLst>
          </p:cNvPr>
          <p:cNvSpPr txBox="1"/>
          <p:nvPr/>
        </p:nvSpPr>
        <p:spPr>
          <a:xfrm>
            <a:off x="429039" y="3549620"/>
            <a:ext cx="163508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b="1" dirty="0">
                <a:solidFill>
                  <a:srgbClr val="A7BCD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ACT STUDY</a:t>
            </a:r>
          </a:p>
        </p:txBody>
      </p:sp>
      <p:sp>
        <p:nvSpPr>
          <p:cNvPr id="33" name="CasellaDiTesto 32">
            <a:extLst>
              <a:ext uri="{FF2B5EF4-FFF2-40B4-BE49-F238E27FC236}">
                <a16:creationId xmlns:a16="http://schemas.microsoft.com/office/drawing/2014/main" id="{FCED89EF-803B-398E-42A2-2DEC29B6CB9E}"/>
              </a:ext>
            </a:extLst>
          </p:cNvPr>
          <p:cNvSpPr txBox="1"/>
          <p:nvPr/>
        </p:nvSpPr>
        <p:spPr>
          <a:xfrm>
            <a:off x="622340" y="3967299"/>
            <a:ext cx="12127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200" dirty="0">
                <a:latin typeface="Arial" panose="020B0604020202020204" pitchFamily="34" charset="0"/>
                <a:cs typeface="Arial" panose="020B0604020202020204" pitchFamily="34" charset="0"/>
              </a:rPr>
              <a:t>Analisi dello </a:t>
            </a:r>
            <a:r>
              <a:rPr lang="it-IT" sz="1200" b="1" dirty="0">
                <a:latin typeface="Arial" panose="020B0604020202020204" pitchFamily="34" charset="0"/>
                <a:cs typeface="Arial" panose="020B0604020202020204" pitchFamily="34" charset="0"/>
              </a:rPr>
              <a:t>scenario</a:t>
            </a:r>
            <a:r>
              <a:rPr lang="it-IT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as-is</a:t>
            </a:r>
            <a:endParaRPr lang="it-IT" sz="1200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CasellaDiTesto 33">
            <a:extLst>
              <a:ext uri="{FF2B5EF4-FFF2-40B4-BE49-F238E27FC236}">
                <a16:creationId xmlns:a16="http://schemas.microsoft.com/office/drawing/2014/main" id="{CC8FAB72-600F-BADC-DFE0-0B3E0D65B348}"/>
              </a:ext>
            </a:extLst>
          </p:cNvPr>
          <p:cNvSpPr txBox="1"/>
          <p:nvPr/>
        </p:nvSpPr>
        <p:spPr>
          <a:xfrm>
            <a:off x="343733" y="5296632"/>
            <a:ext cx="17652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i="1" dirty="0">
                <a:latin typeface="Arial" panose="020B0604020202020204" pitchFamily="34" charset="0"/>
                <a:cs typeface="Arial" panose="020B0604020202020204" pitchFamily="34" charset="0"/>
              </a:rPr>
              <a:t>dicembre 2019</a:t>
            </a:r>
          </a:p>
        </p:txBody>
      </p:sp>
      <p:sp>
        <p:nvSpPr>
          <p:cNvPr id="35" name="CasellaDiTesto 34">
            <a:extLst>
              <a:ext uri="{FF2B5EF4-FFF2-40B4-BE49-F238E27FC236}">
                <a16:creationId xmlns:a16="http://schemas.microsoft.com/office/drawing/2014/main" id="{FEEF62B5-E125-393F-1CF1-D95D43780222}"/>
              </a:ext>
            </a:extLst>
          </p:cNvPr>
          <p:cNvSpPr txBox="1"/>
          <p:nvPr/>
        </p:nvSpPr>
        <p:spPr>
          <a:xfrm>
            <a:off x="1911791" y="1400383"/>
            <a:ext cx="200043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i="1" dirty="0">
                <a:latin typeface="Arial" panose="020B0604020202020204" pitchFamily="34" charset="0"/>
                <a:cs typeface="Arial" panose="020B0604020202020204" pitchFamily="34" charset="0"/>
              </a:rPr>
              <a:t>febbraio - aprile 2020</a:t>
            </a:r>
          </a:p>
        </p:txBody>
      </p:sp>
      <p:sp>
        <p:nvSpPr>
          <p:cNvPr id="36" name="CasellaDiTesto 35">
            <a:extLst>
              <a:ext uri="{FF2B5EF4-FFF2-40B4-BE49-F238E27FC236}">
                <a16:creationId xmlns:a16="http://schemas.microsoft.com/office/drawing/2014/main" id="{D59723A8-1A36-5DE4-E503-23F38B2DFC4F}"/>
              </a:ext>
            </a:extLst>
          </p:cNvPr>
          <p:cNvSpPr txBox="1"/>
          <p:nvPr/>
        </p:nvSpPr>
        <p:spPr>
          <a:xfrm>
            <a:off x="3298756" y="5294728"/>
            <a:ext cx="21648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i="1" dirty="0">
                <a:latin typeface="Arial" panose="020B0604020202020204" pitchFamily="34" charset="0"/>
                <a:cs typeface="Arial" panose="020B0604020202020204" pitchFamily="34" charset="0"/>
              </a:rPr>
              <a:t>luglio - settembre 2020</a:t>
            </a:r>
          </a:p>
        </p:txBody>
      </p:sp>
      <p:sp>
        <p:nvSpPr>
          <p:cNvPr id="37" name="CasellaDiTesto 36">
            <a:extLst>
              <a:ext uri="{FF2B5EF4-FFF2-40B4-BE49-F238E27FC236}">
                <a16:creationId xmlns:a16="http://schemas.microsoft.com/office/drawing/2014/main" id="{46399615-9247-C73E-3D16-1DE004E37304}"/>
              </a:ext>
            </a:extLst>
          </p:cNvPr>
          <p:cNvSpPr txBox="1"/>
          <p:nvPr/>
        </p:nvSpPr>
        <p:spPr>
          <a:xfrm>
            <a:off x="4795488" y="1389879"/>
            <a:ext cx="21443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i="1" dirty="0">
                <a:latin typeface="Arial" panose="020B0604020202020204" pitchFamily="34" charset="0"/>
                <a:cs typeface="Arial" panose="020B0604020202020204" pitchFamily="34" charset="0"/>
              </a:rPr>
              <a:t>settembre - ottobre 2020</a:t>
            </a:r>
          </a:p>
        </p:txBody>
      </p:sp>
      <p:sp>
        <p:nvSpPr>
          <p:cNvPr id="38" name="CasellaDiTesto 37">
            <a:extLst>
              <a:ext uri="{FF2B5EF4-FFF2-40B4-BE49-F238E27FC236}">
                <a16:creationId xmlns:a16="http://schemas.microsoft.com/office/drawing/2014/main" id="{C9CC82C5-76C3-DAAF-B747-C5608265D219}"/>
              </a:ext>
            </a:extLst>
          </p:cNvPr>
          <p:cNvSpPr txBox="1"/>
          <p:nvPr/>
        </p:nvSpPr>
        <p:spPr>
          <a:xfrm>
            <a:off x="6249060" y="5299144"/>
            <a:ext cx="21648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i="1" dirty="0">
                <a:latin typeface="Arial" panose="020B0604020202020204" pitchFamily="34" charset="0"/>
                <a:cs typeface="Arial" panose="020B0604020202020204" pitchFamily="34" charset="0"/>
              </a:rPr>
              <a:t>dicembre - gennaio 2021</a:t>
            </a:r>
          </a:p>
        </p:txBody>
      </p:sp>
      <p:sp>
        <p:nvSpPr>
          <p:cNvPr id="39" name="CasellaDiTesto 38">
            <a:extLst>
              <a:ext uri="{FF2B5EF4-FFF2-40B4-BE49-F238E27FC236}">
                <a16:creationId xmlns:a16="http://schemas.microsoft.com/office/drawing/2014/main" id="{A266934A-FDED-BAB9-1737-47E48B3B987B}"/>
              </a:ext>
            </a:extLst>
          </p:cNvPr>
          <p:cNvSpPr txBox="1"/>
          <p:nvPr/>
        </p:nvSpPr>
        <p:spPr>
          <a:xfrm>
            <a:off x="9899985" y="5296632"/>
            <a:ext cx="1765219" cy="338554"/>
          </a:xfrm>
          <a:prstGeom prst="rect">
            <a:avLst/>
          </a:prstGeom>
          <a:solidFill>
            <a:schemeClr val="bg1"/>
          </a:solidFill>
          <a:ln w="19050">
            <a:solidFill>
              <a:srgbClr val="C4D600"/>
            </a:solidFill>
            <a:prstDash val="dash"/>
          </a:ln>
        </p:spPr>
        <p:txBody>
          <a:bodyPr wrap="square" rtlCol="0">
            <a:spAutoFit/>
          </a:bodyPr>
          <a:lstStyle/>
          <a:p>
            <a:pPr algn="ctr"/>
            <a:r>
              <a:rPr lang="it-IT" sz="1600" b="1" i="1" dirty="0">
                <a:solidFill>
                  <a:srgbClr val="C4D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CORSO</a:t>
            </a:r>
          </a:p>
        </p:txBody>
      </p:sp>
      <p:sp>
        <p:nvSpPr>
          <p:cNvPr id="40" name="CasellaDiTesto 39">
            <a:extLst>
              <a:ext uri="{FF2B5EF4-FFF2-40B4-BE49-F238E27FC236}">
                <a16:creationId xmlns:a16="http://schemas.microsoft.com/office/drawing/2014/main" id="{D272D89E-DE21-5098-2F01-2DDA7DC91F39}"/>
              </a:ext>
            </a:extLst>
          </p:cNvPr>
          <p:cNvSpPr txBox="1"/>
          <p:nvPr/>
        </p:nvSpPr>
        <p:spPr>
          <a:xfrm>
            <a:off x="7806615" y="1394848"/>
            <a:ext cx="23193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i="1" dirty="0">
                <a:latin typeface="Arial" panose="020B0604020202020204" pitchFamily="34" charset="0"/>
                <a:cs typeface="Arial" panose="020B0604020202020204" pitchFamily="34" charset="0"/>
              </a:rPr>
              <a:t>febbraio – aprile 2021</a:t>
            </a:r>
          </a:p>
        </p:txBody>
      </p:sp>
      <p:cxnSp>
        <p:nvCxnSpPr>
          <p:cNvPr id="41" name="Connettore diritto 40">
            <a:extLst>
              <a:ext uri="{FF2B5EF4-FFF2-40B4-BE49-F238E27FC236}">
                <a16:creationId xmlns:a16="http://schemas.microsoft.com/office/drawing/2014/main" id="{4547F9A7-5D4D-FA51-C5EF-91ABCD157EDF}"/>
              </a:ext>
            </a:extLst>
          </p:cNvPr>
          <p:cNvCxnSpPr>
            <a:cxnSpLocks/>
            <a:stCxn id="35" idx="2"/>
          </p:cNvCxnSpPr>
          <p:nvPr/>
        </p:nvCxnSpPr>
        <p:spPr>
          <a:xfrm>
            <a:off x="2912008" y="1708160"/>
            <a:ext cx="0" cy="541604"/>
          </a:xfrm>
          <a:prstGeom prst="line">
            <a:avLst/>
          </a:prstGeom>
          <a:ln w="19050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nettore diritto 41">
            <a:extLst>
              <a:ext uri="{FF2B5EF4-FFF2-40B4-BE49-F238E27FC236}">
                <a16:creationId xmlns:a16="http://schemas.microsoft.com/office/drawing/2014/main" id="{9698B503-3839-5B7B-F317-3FB3707A43A9}"/>
              </a:ext>
            </a:extLst>
          </p:cNvPr>
          <p:cNvCxnSpPr>
            <a:cxnSpLocks/>
            <a:endCxn id="36" idx="0"/>
          </p:cNvCxnSpPr>
          <p:nvPr/>
        </p:nvCxnSpPr>
        <p:spPr>
          <a:xfrm>
            <a:off x="4381169" y="4803583"/>
            <a:ext cx="0" cy="491145"/>
          </a:xfrm>
          <a:prstGeom prst="line">
            <a:avLst/>
          </a:prstGeom>
          <a:ln w="19050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ttore diritto 42">
            <a:extLst>
              <a:ext uri="{FF2B5EF4-FFF2-40B4-BE49-F238E27FC236}">
                <a16:creationId xmlns:a16="http://schemas.microsoft.com/office/drawing/2014/main" id="{B6AB317E-AEBB-4C46-0865-59B99E93EBD0}"/>
              </a:ext>
            </a:extLst>
          </p:cNvPr>
          <p:cNvCxnSpPr/>
          <p:nvPr/>
        </p:nvCxnSpPr>
        <p:spPr>
          <a:xfrm flipH="1">
            <a:off x="5867651" y="1725511"/>
            <a:ext cx="1" cy="542184"/>
          </a:xfrm>
          <a:prstGeom prst="line">
            <a:avLst/>
          </a:prstGeom>
          <a:ln w="19050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Connettore diritto 43">
            <a:extLst>
              <a:ext uri="{FF2B5EF4-FFF2-40B4-BE49-F238E27FC236}">
                <a16:creationId xmlns:a16="http://schemas.microsoft.com/office/drawing/2014/main" id="{095393D3-A237-1B01-F74D-BB780859A6ED}"/>
              </a:ext>
            </a:extLst>
          </p:cNvPr>
          <p:cNvCxnSpPr>
            <a:cxnSpLocks/>
            <a:endCxn id="38" idx="0"/>
          </p:cNvCxnSpPr>
          <p:nvPr/>
        </p:nvCxnSpPr>
        <p:spPr>
          <a:xfrm>
            <a:off x="7331472" y="4849282"/>
            <a:ext cx="1" cy="449862"/>
          </a:xfrm>
          <a:prstGeom prst="line">
            <a:avLst/>
          </a:prstGeom>
          <a:ln w="19050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nettore diritto 44">
            <a:extLst>
              <a:ext uri="{FF2B5EF4-FFF2-40B4-BE49-F238E27FC236}">
                <a16:creationId xmlns:a16="http://schemas.microsoft.com/office/drawing/2014/main" id="{5C9D2111-E00A-5D4D-0F15-7861D30BC1E3}"/>
              </a:ext>
            </a:extLst>
          </p:cNvPr>
          <p:cNvCxnSpPr/>
          <p:nvPr/>
        </p:nvCxnSpPr>
        <p:spPr>
          <a:xfrm flipH="1">
            <a:off x="8966305" y="1707580"/>
            <a:ext cx="1" cy="542184"/>
          </a:xfrm>
          <a:prstGeom prst="line">
            <a:avLst/>
          </a:prstGeom>
          <a:ln w="19050">
            <a:solidFill>
              <a:srgbClr val="AA006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ttore diritto 45">
            <a:extLst>
              <a:ext uri="{FF2B5EF4-FFF2-40B4-BE49-F238E27FC236}">
                <a16:creationId xmlns:a16="http://schemas.microsoft.com/office/drawing/2014/main" id="{C81DF5A9-323A-1206-E2F1-63DFA17A266F}"/>
              </a:ext>
            </a:extLst>
          </p:cNvPr>
          <p:cNvCxnSpPr>
            <a:cxnSpLocks/>
            <a:endCxn id="39" idx="0"/>
          </p:cNvCxnSpPr>
          <p:nvPr/>
        </p:nvCxnSpPr>
        <p:spPr>
          <a:xfrm>
            <a:off x="10782595" y="5037586"/>
            <a:ext cx="0" cy="259046"/>
          </a:xfrm>
          <a:prstGeom prst="line">
            <a:avLst/>
          </a:prstGeom>
          <a:ln w="19050">
            <a:solidFill>
              <a:srgbClr val="C4D6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ttore diritto 46">
            <a:extLst>
              <a:ext uri="{FF2B5EF4-FFF2-40B4-BE49-F238E27FC236}">
                <a16:creationId xmlns:a16="http://schemas.microsoft.com/office/drawing/2014/main" id="{82A39332-2408-37DA-1D71-9CE212DA97BC}"/>
              </a:ext>
            </a:extLst>
          </p:cNvPr>
          <p:cNvCxnSpPr>
            <a:cxnSpLocks/>
            <a:endCxn id="34" idx="0"/>
          </p:cNvCxnSpPr>
          <p:nvPr/>
        </p:nvCxnSpPr>
        <p:spPr>
          <a:xfrm flipH="1">
            <a:off x="1226343" y="4836773"/>
            <a:ext cx="1424" cy="459859"/>
          </a:xfrm>
          <a:prstGeom prst="line">
            <a:avLst/>
          </a:prstGeom>
          <a:ln w="19050">
            <a:solidFill>
              <a:srgbClr val="A7BCD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Freeform 240">
            <a:extLst>
              <a:ext uri="{FF2B5EF4-FFF2-40B4-BE49-F238E27FC236}">
                <a16:creationId xmlns:a16="http://schemas.microsoft.com/office/drawing/2014/main" id="{BDFADD69-50D8-B1EB-8EE7-AED7BAE3687B}"/>
              </a:ext>
            </a:extLst>
          </p:cNvPr>
          <p:cNvSpPr>
            <a:spLocks/>
          </p:cNvSpPr>
          <p:nvPr/>
        </p:nvSpPr>
        <p:spPr bwMode="auto">
          <a:xfrm>
            <a:off x="9338856" y="2031508"/>
            <a:ext cx="407481" cy="413505"/>
          </a:xfrm>
          <a:custGeom>
            <a:avLst/>
            <a:gdLst>
              <a:gd name="T0" fmla="*/ 407 w 445"/>
              <a:gd name="T1" fmla="*/ 0 h 383"/>
              <a:gd name="T2" fmla="*/ 389 w 445"/>
              <a:gd name="T3" fmla="*/ 5 h 383"/>
              <a:gd name="T4" fmla="*/ 134 w 445"/>
              <a:gd name="T5" fmla="*/ 287 h 383"/>
              <a:gd name="T6" fmla="*/ 64 w 445"/>
              <a:gd name="T7" fmla="*/ 196 h 383"/>
              <a:gd name="T8" fmla="*/ 38 w 445"/>
              <a:gd name="T9" fmla="*/ 183 h 383"/>
              <a:gd name="T10" fmla="*/ 18 w 445"/>
              <a:gd name="T11" fmla="*/ 190 h 383"/>
              <a:gd name="T12" fmla="*/ 11 w 445"/>
              <a:gd name="T13" fmla="*/ 237 h 383"/>
              <a:gd name="T14" fmla="*/ 113 w 445"/>
              <a:gd name="T15" fmla="*/ 370 h 383"/>
              <a:gd name="T16" fmla="*/ 140 w 445"/>
              <a:gd name="T17" fmla="*/ 383 h 383"/>
              <a:gd name="T18" fmla="*/ 144 w 445"/>
              <a:gd name="T19" fmla="*/ 383 h 383"/>
              <a:gd name="T20" fmla="*/ 170 w 445"/>
              <a:gd name="T21" fmla="*/ 363 h 383"/>
              <a:gd name="T22" fmla="*/ 425 w 445"/>
              <a:gd name="T23" fmla="*/ 61 h 383"/>
              <a:gd name="T24" fmla="*/ 435 w 445"/>
              <a:gd name="T25" fmla="*/ 15 h 383"/>
              <a:gd name="T26" fmla="*/ 407 w 445"/>
              <a:gd name="T27" fmla="*/ 0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445" h="383">
                <a:moveTo>
                  <a:pt x="407" y="0"/>
                </a:moveTo>
                <a:cubicBezTo>
                  <a:pt x="401" y="0"/>
                  <a:pt x="395" y="1"/>
                  <a:pt x="389" y="5"/>
                </a:cubicBezTo>
                <a:cubicBezTo>
                  <a:pt x="256" y="91"/>
                  <a:pt x="173" y="218"/>
                  <a:pt x="134" y="287"/>
                </a:cubicBezTo>
                <a:lnTo>
                  <a:pt x="64" y="196"/>
                </a:lnTo>
                <a:cubicBezTo>
                  <a:pt x="58" y="188"/>
                  <a:pt x="48" y="183"/>
                  <a:pt x="38" y="183"/>
                </a:cubicBezTo>
                <a:cubicBezTo>
                  <a:pt x="31" y="183"/>
                  <a:pt x="24" y="185"/>
                  <a:pt x="18" y="190"/>
                </a:cubicBezTo>
                <a:cubicBezTo>
                  <a:pt x="3" y="201"/>
                  <a:pt x="0" y="222"/>
                  <a:pt x="11" y="237"/>
                </a:cubicBezTo>
                <a:lnTo>
                  <a:pt x="113" y="370"/>
                </a:lnTo>
                <a:cubicBezTo>
                  <a:pt x="120" y="378"/>
                  <a:pt x="130" y="383"/>
                  <a:pt x="140" y="383"/>
                </a:cubicBezTo>
                <a:cubicBezTo>
                  <a:pt x="141" y="383"/>
                  <a:pt x="143" y="383"/>
                  <a:pt x="144" y="383"/>
                </a:cubicBezTo>
                <a:cubicBezTo>
                  <a:pt x="156" y="381"/>
                  <a:pt x="166" y="374"/>
                  <a:pt x="170" y="363"/>
                </a:cubicBezTo>
                <a:cubicBezTo>
                  <a:pt x="171" y="361"/>
                  <a:pt x="255" y="171"/>
                  <a:pt x="425" y="61"/>
                </a:cubicBezTo>
                <a:cubicBezTo>
                  <a:pt x="441" y="51"/>
                  <a:pt x="445" y="30"/>
                  <a:pt x="435" y="15"/>
                </a:cubicBezTo>
                <a:cubicBezTo>
                  <a:pt x="429" y="5"/>
                  <a:pt x="418" y="0"/>
                  <a:pt x="407" y="0"/>
                </a:cubicBezTo>
                <a:close/>
              </a:path>
            </a:pathLst>
          </a:custGeom>
          <a:solidFill>
            <a:srgbClr val="AA0061"/>
          </a:solidFill>
          <a:ln w="285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Freeform 240">
            <a:extLst>
              <a:ext uri="{FF2B5EF4-FFF2-40B4-BE49-F238E27FC236}">
                <a16:creationId xmlns:a16="http://schemas.microsoft.com/office/drawing/2014/main" id="{22C38412-9487-31DD-8A10-38980B72E1F7}"/>
              </a:ext>
            </a:extLst>
          </p:cNvPr>
          <p:cNvSpPr>
            <a:spLocks/>
          </p:cNvSpPr>
          <p:nvPr/>
        </p:nvSpPr>
        <p:spPr bwMode="auto">
          <a:xfrm>
            <a:off x="7630528" y="2902193"/>
            <a:ext cx="402236" cy="413504"/>
          </a:xfrm>
          <a:custGeom>
            <a:avLst/>
            <a:gdLst>
              <a:gd name="T0" fmla="*/ 407 w 445"/>
              <a:gd name="T1" fmla="*/ 0 h 383"/>
              <a:gd name="T2" fmla="*/ 389 w 445"/>
              <a:gd name="T3" fmla="*/ 5 h 383"/>
              <a:gd name="T4" fmla="*/ 134 w 445"/>
              <a:gd name="T5" fmla="*/ 287 h 383"/>
              <a:gd name="T6" fmla="*/ 64 w 445"/>
              <a:gd name="T7" fmla="*/ 196 h 383"/>
              <a:gd name="T8" fmla="*/ 38 w 445"/>
              <a:gd name="T9" fmla="*/ 183 h 383"/>
              <a:gd name="T10" fmla="*/ 18 w 445"/>
              <a:gd name="T11" fmla="*/ 190 h 383"/>
              <a:gd name="T12" fmla="*/ 11 w 445"/>
              <a:gd name="T13" fmla="*/ 237 h 383"/>
              <a:gd name="T14" fmla="*/ 113 w 445"/>
              <a:gd name="T15" fmla="*/ 370 h 383"/>
              <a:gd name="T16" fmla="*/ 140 w 445"/>
              <a:gd name="T17" fmla="*/ 383 h 383"/>
              <a:gd name="T18" fmla="*/ 144 w 445"/>
              <a:gd name="T19" fmla="*/ 383 h 383"/>
              <a:gd name="T20" fmla="*/ 170 w 445"/>
              <a:gd name="T21" fmla="*/ 363 h 383"/>
              <a:gd name="T22" fmla="*/ 425 w 445"/>
              <a:gd name="T23" fmla="*/ 61 h 383"/>
              <a:gd name="T24" fmla="*/ 435 w 445"/>
              <a:gd name="T25" fmla="*/ 15 h 383"/>
              <a:gd name="T26" fmla="*/ 407 w 445"/>
              <a:gd name="T27" fmla="*/ 0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445" h="383">
                <a:moveTo>
                  <a:pt x="407" y="0"/>
                </a:moveTo>
                <a:cubicBezTo>
                  <a:pt x="401" y="0"/>
                  <a:pt x="395" y="1"/>
                  <a:pt x="389" y="5"/>
                </a:cubicBezTo>
                <a:cubicBezTo>
                  <a:pt x="256" y="91"/>
                  <a:pt x="173" y="218"/>
                  <a:pt x="134" y="287"/>
                </a:cubicBezTo>
                <a:lnTo>
                  <a:pt x="64" y="196"/>
                </a:lnTo>
                <a:cubicBezTo>
                  <a:pt x="58" y="188"/>
                  <a:pt x="48" y="183"/>
                  <a:pt x="38" y="183"/>
                </a:cubicBezTo>
                <a:cubicBezTo>
                  <a:pt x="31" y="183"/>
                  <a:pt x="24" y="185"/>
                  <a:pt x="18" y="190"/>
                </a:cubicBezTo>
                <a:cubicBezTo>
                  <a:pt x="3" y="201"/>
                  <a:pt x="0" y="222"/>
                  <a:pt x="11" y="237"/>
                </a:cubicBezTo>
                <a:lnTo>
                  <a:pt x="113" y="370"/>
                </a:lnTo>
                <a:cubicBezTo>
                  <a:pt x="120" y="378"/>
                  <a:pt x="130" y="383"/>
                  <a:pt x="140" y="383"/>
                </a:cubicBezTo>
                <a:cubicBezTo>
                  <a:pt x="141" y="383"/>
                  <a:pt x="143" y="383"/>
                  <a:pt x="144" y="383"/>
                </a:cubicBezTo>
                <a:cubicBezTo>
                  <a:pt x="156" y="381"/>
                  <a:pt x="166" y="374"/>
                  <a:pt x="170" y="363"/>
                </a:cubicBezTo>
                <a:cubicBezTo>
                  <a:pt x="171" y="361"/>
                  <a:pt x="255" y="171"/>
                  <a:pt x="425" y="61"/>
                </a:cubicBezTo>
                <a:cubicBezTo>
                  <a:pt x="441" y="51"/>
                  <a:pt x="445" y="30"/>
                  <a:pt x="435" y="15"/>
                </a:cubicBezTo>
                <a:cubicBezTo>
                  <a:pt x="429" y="5"/>
                  <a:pt x="418" y="0"/>
                  <a:pt x="407" y="0"/>
                </a:cubicBezTo>
                <a:close/>
              </a:path>
            </a:pathLst>
          </a:custGeom>
          <a:solidFill>
            <a:srgbClr val="002060"/>
          </a:solidFill>
          <a:ln w="285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0" name="Freeform 240">
            <a:extLst>
              <a:ext uri="{FF2B5EF4-FFF2-40B4-BE49-F238E27FC236}">
                <a16:creationId xmlns:a16="http://schemas.microsoft.com/office/drawing/2014/main" id="{C798DE73-547A-0295-D03B-892F19D0BFA3}"/>
              </a:ext>
            </a:extLst>
          </p:cNvPr>
          <p:cNvSpPr>
            <a:spLocks/>
          </p:cNvSpPr>
          <p:nvPr/>
        </p:nvSpPr>
        <p:spPr bwMode="auto">
          <a:xfrm>
            <a:off x="6160370" y="2053542"/>
            <a:ext cx="402236" cy="413504"/>
          </a:xfrm>
          <a:custGeom>
            <a:avLst/>
            <a:gdLst>
              <a:gd name="T0" fmla="*/ 407 w 445"/>
              <a:gd name="T1" fmla="*/ 0 h 383"/>
              <a:gd name="T2" fmla="*/ 389 w 445"/>
              <a:gd name="T3" fmla="*/ 5 h 383"/>
              <a:gd name="T4" fmla="*/ 134 w 445"/>
              <a:gd name="T5" fmla="*/ 287 h 383"/>
              <a:gd name="T6" fmla="*/ 64 w 445"/>
              <a:gd name="T7" fmla="*/ 196 h 383"/>
              <a:gd name="T8" fmla="*/ 38 w 445"/>
              <a:gd name="T9" fmla="*/ 183 h 383"/>
              <a:gd name="T10" fmla="*/ 18 w 445"/>
              <a:gd name="T11" fmla="*/ 190 h 383"/>
              <a:gd name="T12" fmla="*/ 11 w 445"/>
              <a:gd name="T13" fmla="*/ 237 h 383"/>
              <a:gd name="T14" fmla="*/ 113 w 445"/>
              <a:gd name="T15" fmla="*/ 370 h 383"/>
              <a:gd name="T16" fmla="*/ 140 w 445"/>
              <a:gd name="T17" fmla="*/ 383 h 383"/>
              <a:gd name="T18" fmla="*/ 144 w 445"/>
              <a:gd name="T19" fmla="*/ 383 h 383"/>
              <a:gd name="T20" fmla="*/ 170 w 445"/>
              <a:gd name="T21" fmla="*/ 363 h 383"/>
              <a:gd name="T22" fmla="*/ 425 w 445"/>
              <a:gd name="T23" fmla="*/ 61 h 383"/>
              <a:gd name="T24" fmla="*/ 435 w 445"/>
              <a:gd name="T25" fmla="*/ 15 h 383"/>
              <a:gd name="T26" fmla="*/ 407 w 445"/>
              <a:gd name="T27" fmla="*/ 0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445" h="383">
                <a:moveTo>
                  <a:pt x="407" y="0"/>
                </a:moveTo>
                <a:cubicBezTo>
                  <a:pt x="401" y="0"/>
                  <a:pt x="395" y="1"/>
                  <a:pt x="389" y="5"/>
                </a:cubicBezTo>
                <a:cubicBezTo>
                  <a:pt x="256" y="91"/>
                  <a:pt x="173" y="218"/>
                  <a:pt x="134" y="287"/>
                </a:cubicBezTo>
                <a:lnTo>
                  <a:pt x="64" y="196"/>
                </a:lnTo>
                <a:cubicBezTo>
                  <a:pt x="58" y="188"/>
                  <a:pt x="48" y="183"/>
                  <a:pt x="38" y="183"/>
                </a:cubicBezTo>
                <a:cubicBezTo>
                  <a:pt x="31" y="183"/>
                  <a:pt x="24" y="185"/>
                  <a:pt x="18" y="190"/>
                </a:cubicBezTo>
                <a:cubicBezTo>
                  <a:pt x="3" y="201"/>
                  <a:pt x="0" y="222"/>
                  <a:pt x="11" y="237"/>
                </a:cubicBezTo>
                <a:lnTo>
                  <a:pt x="113" y="370"/>
                </a:lnTo>
                <a:cubicBezTo>
                  <a:pt x="120" y="378"/>
                  <a:pt x="130" y="383"/>
                  <a:pt x="140" y="383"/>
                </a:cubicBezTo>
                <a:cubicBezTo>
                  <a:pt x="141" y="383"/>
                  <a:pt x="143" y="383"/>
                  <a:pt x="144" y="383"/>
                </a:cubicBezTo>
                <a:cubicBezTo>
                  <a:pt x="156" y="381"/>
                  <a:pt x="166" y="374"/>
                  <a:pt x="170" y="363"/>
                </a:cubicBezTo>
                <a:cubicBezTo>
                  <a:pt x="171" y="361"/>
                  <a:pt x="255" y="171"/>
                  <a:pt x="425" y="61"/>
                </a:cubicBezTo>
                <a:cubicBezTo>
                  <a:pt x="441" y="51"/>
                  <a:pt x="445" y="30"/>
                  <a:pt x="435" y="15"/>
                </a:cubicBezTo>
                <a:cubicBezTo>
                  <a:pt x="429" y="5"/>
                  <a:pt x="418" y="0"/>
                  <a:pt x="407" y="0"/>
                </a:cubicBezTo>
                <a:close/>
              </a:path>
            </a:pathLst>
          </a:custGeom>
          <a:solidFill>
            <a:srgbClr val="002060"/>
          </a:solidFill>
          <a:ln w="285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Freeform 240">
            <a:extLst>
              <a:ext uri="{FF2B5EF4-FFF2-40B4-BE49-F238E27FC236}">
                <a16:creationId xmlns:a16="http://schemas.microsoft.com/office/drawing/2014/main" id="{3F176D8F-AA0E-9C27-1EA9-4F4AAE7319A6}"/>
              </a:ext>
            </a:extLst>
          </p:cNvPr>
          <p:cNvSpPr>
            <a:spLocks/>
          </p:cNvSpPr>
          <p:nvPr/>
        </p:nvSpPr>
        <p:spPr bwMode="auto">
          <a:xfrm>
            <a:off x="3204851" y="2020491"/>
            <a:ext cx="402236" cy="413504"/>
          </a:xfrm>
          <a:custGeom>
            <a:avLst/>
            <a:gdLst>
              <a:gd name="T0" fmla="*/ 407 w 445"/>
              <a:gd name="T1" fmla="*/ 0 h 383"/>
              <a:gd name="T2" fmla="*/ 389 w 445"/>
              <a:gd name="T3" fmla="*/ 5 h 383"/>
              <a:gd name="T4" fmla="*/ 134 w 445"/>
              <a:gd name="T5" fmla="*/ 287 h 383"/>
              <a:gd name="T6" fmla="*/ 64 w 445"/>
              <a:gd name="T7" fmla="*/ 196 h 383"/>
              <a:gd name="T8" fmla="*/ 38 w 445"/>
              <a:gd name="T9" fmla="*/ 183 h 383"/>
              <a:gd name="T10" fmla="*/ 18 w 445"/>
              <a:gd name="T11" fmla="*/ 190 h 383"/>
              <a:gd name="T12" fmla="*/ 11 w 445"/>
              <a:gd name="T13" fmla="*/ 237 h 383"/>
              <a:gd name="T14" fmla="*/ 113 w 445"/>
              <a:gd name="T15" fmla="*/ 370 h 383"/>
              <a:gd name="T16" fmla="*/ 140 w 445"/>
              <a:gd name="T17" fmla="*/ 383 h 383"/>
              <a:gd name="T18" fmla="*/ 144 w 445"/>
              <a:gd name="T19" fmla="*/ 383 h 383"/>
              <a:gd name="T20" fmla="*/ 170 w 445"/>
              <a:gd name="T21" fmla="*/ 363 h 383"/>
              <a:gd name="T22" fmla="*/ 425 w 445"/>
              <a:gd name="T23" fmla="*/ 61 h 383"/>
              <a:gd name="T24" fmla="*/ 435 w 445"/>
              <a:gd name="T25" fmla="*/ 15 h 383"/>
              <a:gd name="T26" fmla="*/ 407 w 445"/>
              <a:gd name="T27" fmla="*/ 0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445" h="383">
                <a:moveTo>
                  <a:pt x="407" y="0"/>
                </a:moveTo>
                <a:cubicBezTo>
                  <a:pt x="401" y="0"/>
                  <a:pt x="395" y="1"/>
                  <a:pt x="389" y="5"/>
                </a:cubicBezTo>
                <a:cubicBezTo>
                  <a:pt x="256" y="91"/>
                  <a:pt x="173" y="218"/>
                  <a:pt x="134" y="287"/>
                </a:cubicBezTo>
                <a:lnTo>
                  <a:pt x="64" y="196"/>
                </a:lnTo>
                <a:cubicBezTo>
                  <a:pt x="58" y="188"/>
                  <a:pt x="48" y="183"/>
                  <a:pt x="38" y="183"/>
                </a:cubicBezTo>
                <a:cubicBezTo>
                  <a:pt x="31" y="183"/>
                  <a:pt x="24" y="185"/>
                  <a:pt x="18" y="190"/>
                </a:cubicBezTo>
                <a:cubicBezTo>
                  <a:pt x="3" y="201"/>
                  <a:pt x="0" y="222"/>
                  <a:pt x="11" y="237"/>
                </a:cubicBezTo>
                <a:lnTo>
                  <a:pt x="113" y="370"/>
                </a:lnTo>
                <a:cubicBezTo>
                  <a:pt x="120" y="378"/>
                  <a:pt x="130" y="383"/>
                  <a:pt x="140" y="383"/>
                </a:cubicBezTo>
                <a:cubicBezTo>
                  <a:pt x="141" y="383"/>
                  <a:pt x="143" y="383"/>
                  <a:pt x="144" y="383"/>
                </a:cubicBezTo>
                <a:cubicBezTo>
                  <a:pt x="156" y="381"/>
                  <a:pt x="166" y="374"/>
                  <a:pt x="170" y="363"/>
                </a:cubicBezTo>
                <a:cubicBezTo>
                  <a:pt x="171" y="361"/>
                  <a:pt x="255" y="171"/>
                  <a:pt x="425" y="61"/>
                </a:cubicBezTo>
                <a:cubicBezTo>
                  <a:pt x="441" y="51"/>
                  <a:pt x="445" y="30"/>
                  <a:pt x="435" y="15"/>
                </a:cubicBezTo>
                <a:cubicBezTo>
                  <a:pt x="429" y="5"/>
                  <a:pt x="418" y="0"/>
                  <a:pt x="407" y="0"/>
                </a:cubicBezTo>
                <a:close/>
              </a:path>
            </a:pathLst>
          </a:custGeom>
          <a:solidFill>
            <a:srgbClr val="002060"/>
          </a:solidFill>
          <a:ln w="285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Freeform 240">
            <a:extLst>
              <a:ext uri="{FF2B5EF4-FFF2-40B4-BE49-F238E27FC236}">
                <a16:creationId xmlns:a16="http://schemas.microsoft.com/office/drawing/2014/main" id="{7268BFB0-0289-3E5D-0840-042C392692A3}"/>
              </a:ext>
            </a:extLst>
          </p:cNvPr>
          <p:cNvSpPr>
            <a:spLocks/>
          </p:cNvSpPr>
          <p:nvPr/>
        </p:nvSpPr>
        <p:spPr bwMode="auto">
          <a:xfrm>
            <a:off x="4683696" y="2891176"/>
            <a:ext cx="402236" cy="413504"/>
          </a:xfrm>
          <a:custGeom>
            <a:avLst/>
            <a:gdLst>
              <a:gd name="T0" fmla="*/ 407 w 445"/>
              <a:gd name="T1" fmla="*/ 0 h 383"/>
              <a:gd name="T2" fmla="*/ 389 w 445"/>
              <a:gd name="T3" fmla="*/ 5 h 383"/>
              <a:gd name="T4" fmla="*/ 134 w 445"/>
              <a:gd name="T5" fmla="*/ 287 h 383"/>
              <a:gd name="T6" fmla="*/ 64 w 445"/>
              <a:gd name="T7" fmla="*/ 196 h 383"/>
              <a:gd name="T8" fmla="*/ 38 w 445"/>
              <a:gd name="T9" fmla="*/ 183 h 383"/>
              <a:gd name="T10" fmla="*/ 18 w 445"/>
              <a:gd name="T11" fmla="*/ 190 h 383"/>
              <a:gd name="T12" fmla="*/ 11 w 445"/>
              <a:gd name="T13" fmla="*/ 237 h 383"/>
              <a:gd name="T14" fmla="*/ 113 w 445"/>
              <a:gd name="T15" fmla="*/ 370 h 383"/>
              <a:gd name="T16" fmla="*/ 140 w 445"/>
              <a:gd name="T17" fmla="*/ 383 h 383"/>
              <a:gd name="T18" fmla="*/ 144 w 445"/>
              <a:gd name="T19" fmla="*/ 383 h 383"/>
              <a:gd name="T20" fmla="*/ 170 w 445"/>
              <a:gd name="T21" fmla="*/ 363 h 383"/>
              <a:gd name="T22" fmla="*/ 425 w 445"/>
              <a:gd name="T23" fmla="*/ 61 h 383"/>
              <a:gd name="T24" fmla="*/ 435 w 445"/>
              <a:gd name="T25" fmla="*/ 15 h 383"/>
              <a:gd name="T26" fmla="*/ 407 w 445"/>
              <a:gd name="T27" fmla="*/ 0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445" h="383">
                <a:moveTo>
                  <a:pt x="407" y="0"/>
                </a:moveTo>
                <a:cubicBezTo>
                  <a:pt x="401" y="0"/>
                  <a:pt x="395" y="1"/>
                  <a:pt x="389" y="5"/>
                </a:cubicBezTo>
                <a:cubicBezTo>
                  <a:pt x="256" y="91"/>
                  <a:pt x="173" y="218"/>
                  <a:pt x="134" y="287"/>
                </a:cubicBezTo>
                <a:lnTo>
                  <a:pt x="64" y="196"/>
                </a:lnTo>
                <a:cubicBezTo>
                  <a:pt x="58" y="188"/>
                  <a:pt x="48" y="183"/>
                  <a:pt x="38" y="183"/>
                </a:cubicBezTo>
                <a:cubicBezTo>
                  <a:pt x="31" y="183"/>
                  <a:pt x="24" y="185"/>
                  <a:pt x="18" y="190"/>
                </a:cubicBezTo>
                <a:cubicBezTo>
                  <a:pt x="3" y="201"/>
                  <a:pt x="0" y="222"/>
                  <a:pt x="11" y="237"/>
                </a:cubicBezTo>
                <a:lnTo>
                  <a:pt x="113" y="370"/>
                </a:lnTo>
                <a:cubicBezTo>
                  <a:pt x="120" y="378"/>
                  <a:pt x="130" y="383"/>
                  <a:pt x="140" y="383"/>
                </a:cubicBezTo>
                <a:cubicBezTo>
                  <a:pt x="141" y="383"/>
                  <a:pt x="143" y="383"/>
                  <a:pt x="144" y="383"/>
                </a:cubicBezTo>
                <a:cubicBezTo>
                  <a:pt x="156" y="381"/>
                  <a:pt x="166" y="374"/>
                  <a:pt x="170" y="363"/>
                </a:cubicBezTo>
                <a:cubicBezTo>
                  <a:pt x="171" y="361"/>
                  <a:pt x="255" y="171"/>
                  <a:pt x="425" y="61"/>
                </a:cubicBezTo>
                <a:cubicBezTo>
                  <a:pt x="441" y="51"/>
                  <a:pt x="445" y="30"/>
                  <a:pt x="435" y="15"/>
                </a:cubicBezTo>
                <a:cubicBezTo>
                  <a:pt x="429" y="5"/>
                  <a:pt x="418" y="0"/>
                  <a:pt x="407" y="0"/>
                </a:cubicBezTo>
                <a:close/>
              </a:path>
            </a:pathLst>
          </a:custGeom>
          <a:solidFill>
            <a:srgbClr val="002060"/>
          </a:solidFill>
          <a:ln w="285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Freeform 240">
            <a:extLst>
              <a:ext uri="{FF2B5EF4-FFF2-40B4-BE49-F238E27FC236}">
                <a16:creationId xmlns:a16="http://schemas.microsoft.com/office/drawing/2014/main" id="{6F8C0503-1091-35CE-6723-0A9604842EFB}"/>
              </a:ext>
            </a:extLst>
          </p:cNvPr>
          <p:cNvSpPr>
            <a:spLocks/>
          </p:cNvSpPr>
          <p:nvPr/>
        </p:nvSpPr>
        <p:spPr bwMode="auto">
          <a:xfrm>
            <a:off x="1547681" y="2913210"/>
            <a:ext cx="402236" cy="413504"/>
          </a:xfrm>
          <a:custGeom>
            <a:avLst/>
            <a:gdLst>
              <a:gd name="T0" fmla="*/ 407 w 445"/>
              <a:gd name="T1" fmla="*/ 0 h 383"/>
              <a:gd name="T2" fmla="*/ 389 w 445"/>
              <a:gd name="T3" fmla="*/ 5 h 383"/>
              <a:gd name="T4" fmla="*/ 134 w 445"/>
              <a:gd name="T5" fmla="*/ 287 h 383"/>
              <a:gd name="T6" fmla="*/ 64 w 445"/>
              <a:gd name="T7" fmla="*/ 196 h 383"/>
              <a:gd name="T8" fmla="*/ 38 w 445"/>
              <a:gd name="T9" fmla="*/ 183 h 383"/>
              <a:gd name="T10" fmla="*/ 18 w 445"/>
              <a:gd name="T11" fmla="*/ 190 h 383"/>
              <a:gd name="T12" fmla="*/ 11 w 445"/>
              <a:gd name="T13" fmla="*/ 237 h 383"/>
              <a:gd name="T14" fmla="*/ 113 w 445"/>
              <a:gd name="T15" fmla="*/ 370 h 383"/>
              <a:gd name="T16" fmla="*/ 140 w 445"/>
              <a:gd name="T17" fmla="*/ 383 h 383"/>
              <a:gd name="T18" fmla="*/ 144 w 445"/>
              <a:gd name="T19" fmla="*/ 383 h 383"/>
              <a:gd name="T20" fmla="*/ 170 w 445"/>
              <a:gd name="T21" fmla="*/ 363 h 383"/>
              <a:gd name="T22" fmla="*/ 425 w 445"/>
              <a:gd name="T23" fmla="*/ 61 h 383"/>
              <a:gd name="T24" fmla="*/ 435 w 445"/>
              <a:gd name="T25" fmla="*/ 15 h 383"/>
              <a:gd name="T26" fmla="*/ 407 w 445"/>
              <a:gd name="T27" fmla="*/ 0 h 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445" h="383">
                <a:moveTo>
                  <a:pt x="407" y="0"/>
                </a:moveTo>
                <a:cubicBezTo>
                  <a:pt x="401" y="0"/>
                  <a:pt x="395" y="1"/>
                  <a:pt x="389" y="5"/>
                </a:cubicBezTo>
                <a:cubicBezTo>
                  <a:pt x="256" y="91"/>
                  <a:pt x="173" y="218"/>
                  <a:pt x="134" y="287"/>
                </a:cubicBezTo>
                <a:lnTo>
                  <a:pt x="64" y="196"/>
                </a:lnTo>
                <a:cubicBezTo>
                  <a:pt x="58" y="188"/>
                  <a:pt x="48" y="183"/>
                  <a:pt x="38" y="183"/>
                </a:cubicBezTo>
                <a:cubicBezTo>
                  <a:pt x="31" y="183"/>
                  <a:pt x="24" y="185"/>
                  <a:pt x="18" y="190"/>
                </a:cubicBezTo>
                <a:cubicBezTo>
                  <a:pt x="3" y="201"/>
                  <a:pt x="0" y="222"/>
                  <a:pt x="11" y="237"/>
                </a:cubicBezTo>
                <a:lnTo>
                  <a:pt x="113" y="370"/>
                </a:lnTo>
                <a:cubicBezTo>
                  <a:pt x="120" y="378"/>
                  <a:pt x="130" y="383"/>
                  <a:pt x="140" y="383"/>
                </a:cubicBezTo>
                <a:cubicBezTo>
                  <a:pt x="141" y="383"/>
                  <a:pt x="143" y="383"/>
                  <a:pt x="144" y="383"/>
                </a:cubicBezTo>
                <a:cubicBezTo>
                  <a:pt x="156" y="381"/>
                  <a:pt x="166" y="374"/>
                  <a:pt x="170" y="363"/>
                </a:cubicBezTo>
                <a:cubicBezTo>
                  <a:pt x="171" y="361"/>
                  <a:pt x="255" y="171"/>
                  <a:pt x="425" y="61"/>
                </a:cubicBezTo>
                <a:cubicBezTo>
                  <a:pt x="441" y="51"/>
                  <a:pt x="445" y="30"/>
                  <a:pt x="435" y="15"/>
                </a:cubicBezTo>
                <a:cubicBezTo>
                  <a:pt x="429" y="5"/>
                  <a:pt x="418" y="0"/>
                  <a:pt x="407" y="0"/>
                </a:cubicBezTo>
                <a:close/>
              </a:path>
            </a:pathLst>
          </a:custGeom>
          <a:solidFill>
            <a:srgbClr val="A7BCD6"/>
          </a:solidFill>
          <a:ln w="285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54" name="Flag6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BB83808-9A21-B872-979B-A229E225E080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1451960" y="5139815"/>
            <a:ext cx="396307" cy="415985"/>
            <a:chOff x="86" y="47"/>
            <a:chExt cx="312" cy="352"/>
          </a:xfrm>
          <a:solidFill>
            <a:srgbClr val="C4D600"/>
          </a:solidFill>
        </p:grpSpPr>
        <p:sp>
          <p:nvSpPr>
            <p:cNvPr id="55" name="Flag6">
              <a:extLst>
                <a:ext uri="{FF2B5EF4-FFF2-40B4-BE49-F238E27FC236}">
                  <a16:creationId xmlns:a16="http://schemas.microsoft.com/office/drawing/2014/main" id="{82917E28-CE91-4189-EEAF-BF234537BCA5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86" y="86"/>
              <a:ext cx="39" cy="313"/>
            </a:xfrm>
            <a:prstGeom prst="rect">
              <a:avLst/>
            </a:prstGeom>
            <a:grpFill/>
            <a:ln w="0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lag6">
              <a:extLst>
                <a:ext uri="{FF2B5EF4-FFF2-40B4-BE49-F238E27FC236}">
                  <a16:creationId xmlns:a16="http://schemas.microsoft.com/office/drawing/2014/main" id="{08490EE8-7F04-D1C9-DC10-A39DC06BDA7B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45" y="47"/>
              <a:ext cx="253" cy="333"/>
            </a:xfrm>
            <a:custGeom>
              <a:avLst/>
              <a:gdLst>
                <a:gd name="T0" fmla="*/ 0 w 325"/>
                <a:gd name="T1" fmla="*/ 100 h 425"/>
                <a:gd name="T2" fmla="*/ 0 w 325"/>
                <a:gd name="T3" fmla="*/ 325 h 425"/>
                <a:gd name="T4" fmla="*/ 325 w 325"/>
                <a:gd name="T5" fmla="*/ 325 h 425"/>
                <a:gd name="T6" fmla="*/ 325 w 325"/>
                <a:gd name="T7" fmla="*/ 100 h 425"/>
                <a:gd name="T8" fmla="*/ 0 w 325"/>
                <a:gd name="T9" fmla="*/ 100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5" h="425">
                  <a:moveTo>
                    <a:pt x="0" y="100"/>
                  </a:moveTo>
                  <a:lnTo>
                    <a:pt x="0" y="325"/>
                  </a:lnTo>
                  <a:cubicBezTo>
                    <a:pt x="100" y="225"/>
                    <a:pt x="225" y="425"/>
                    <a:pt x="325" y="325"/>
                  </a:cubicBezTo>
                  <a:lnTo>
                    <a:pt x="325" y="100"/>
                  </a:lnTo>
                  <a:cubicBezTo>
                    <a:pt x="225" y="200"/>
                    <a:pt x="100" y="0"/>
                    <a:pt x="0" y="100"/>
                  </a:cubicBezTo>
                  <a:close/>
                </a:path>
              </a:pathLst>
            </a:custGeom>
            <a:grpFill/>
            <a:ln w="0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526024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*check mark*clip board*content*notes*office*board*box*empty clipboard*erase clipboard*copy*document*paste*tools*note**list*petition*poll*survey*todo list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INNERLINE_KEY" val="POWER_USER_DIAGRAM_RELATIONSHIP_INNERLINE_VALUE_7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INNERLINE_KEY" val="POWER_USER_DIAGRAM_RELATIONSHIP_INNERLINE_VALUE_6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INNERLINE_KEY" val="POWER_USER_DIAGRAM_RELATIONSHIP_INNERLINE_VALUE_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opy_POWER_USER_SEPARATOR_ICONS_clipboard_POWER_USER_SEPARATOR_ICONS_document_POWER_USER_SEPARATOR_ICONS_edit_POWER_USER_SEPARATOR_ICONS_medi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INNERLINE_KEY" val="POWER_USER_DIAGRAM_RELATIONSHIP_INNERLINE_VALUE_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6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DIAGRAM_RELATIONSHIP_CIRCLES_KEY" val="POWER_USER_DIAGRAM_RELATIONSHIP_CIRCLES_VALUE_7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n_POWER_USER_SEPARATOR_ICONS_drawing_POWER_USER_SEPARATOR_ICONS_fountain-pen_POWER_USER_SEPARATOR_ICONS_nib_POWER_USER_SEPARATOR_ICONS_pen-tool_POWER_USER_SEPARATOR_ICONS_vector_POWER_USER_SEPARATOR_ICONS_write_POWER_USER_SEPARATOR_ICONS_writin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opy_POWER_USER_SEPARATOR_ICONS_clipboard_POWER_USER_SEPARATOR_ICONS_document_POWER_USER_SEPARATOR_ICONS_edit_POWER_USER_SEPARATOR_ICONS_medi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opy_POWER_USER_SEPARATOR_ICONS_clipboard_POWER_USER_SEPARATOR_ICONS_document_POWER_USER_SEPARATOR_ICONS_edit_POWER_USER_SEPARATOR_ICONS_medi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</TotalTime>
  <Words>853</Words>
  <Application>Microsoft Office PowerPoint</Application>
  <PresentationFormat>Widescreen</PresentationFormat>
  <Paragraphs>203</Paragraphs>
  <Slides>16</Slides>
  <Notes>5</Notes>
  <HiddenSlides>0</HiddenSlides>
  <MMClips>0</MMClips>
  <ScaleCrop>false</ScaleCrop>
  <HeadingPairs>
    <vt:vector size="6" baseType="variant">
      <vt:variant>
        <vt:lpstr>Caratteri utilizzati</vt:lpstr>
      </vt:variant>
      <vt:variant>
        <vt:i4>4</vt:i4>
      </vt:variant>
      <vt:variant>
        <vt:lpstr>Tema</vt:lpstr>
      </vt:variant>
      <vt:variant>
        <vt:i4>1</vt:i4>
      </vt:variant>
      <vt:variant>
        <vt:lpstr>Titoli diapositive</vt:lpstr>
      </vt:variant>
      <vt:variant>
        <vt:i4>16</vt:i4>
      </vt:variant>
    </vt:vector>
  </HeadingPairs>
  <TitlesOfParts>
    <vt:vector size="21" baseType="lpstr">
      <vt:lpstr>Arial</vt:lpstr>
      <vt:lpstr>Calibri</vt:lpstr>
      <vt:lpstr>Calibri Light</vt:lpstr>
      <vt:lpstr>Wingdings</vt:lpstr>
      <vt:lpstr>Tema di Offic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mattia rodente</dc:creator>
  <cp:lastModifiedBy>mattia rodente</cp:lastModifiedBy>
  <cp:revision>1</cp:revision>
  <dcterms:created xsi:type="dcterms:W3CDTF">2022-11-04T16:25:38Z</dcterms:created>
  <dcterms:modified xsi:type="dcterms:W3CDTF">2022-11-07T08:22:56Z</dcterms:modified>
</cp:coreProperties>
</file>